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2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98" r:id="rId2"/>
  </p:sldMasterIdLst>
  <p:notesMasterIdLst>
    <p:notesMasterId r:id="rId20"/>
  </p:notesMasterIdLst>
  <p:handoutMasterIdLst>
    <p:handoutMasterId r:id="rId21"/>
  </p:handoutMasterIdLst>
  <p:sldIdLst>
    <p:sldId id="317" r:id="rId3"/>
    <p:sldId id="912" r:id="rId4"/>
    <p:sldId id="904" r:id="rId5"/>
    <p:sldId id="913" r:id="rId6"/>
    <p:sldId id="900" r:id="rId7"/>
    <p:sldId id="531" r:id="rId8"/>
    <p:sldId id="918" r:id="rId9"/>
    <p:sldId id="916" r:id="rId10"/>
    <p:sldId id="896" r:id="rId11"/>
    <p:sldId id="897" r:id="rId12"/>
    <p:sldId id="917" r:id="rId13"/>
    <p:sldId id="876" r:id="rId14"/>
    <p:sldId id="908" r:id="rId15"/>
    <p:sldId id="909" r:id="rId16"/>
    <p:sldId id="915" r:id="rId17"/>
    <p:sldId id="910" r:id="rId18"/>
    <p:sldId id="319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w" initials="sw" lastIdx="4" clrIdx="0">
    <p:extLst>
      <p:ext uri="{19B8F6BF-5375-455C-9EA6-DF929625EA0E}">
        <p15:presenceInfo xmlns:p15="http://schemas.microsoft.com/office/powerpoint/2012/main" userId="sw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115FB49-3FBE-41CF-8DFC-A938FE5134F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115FB49-3FBE-41CF-8DFC-A938FE5134F0}" styleName="Gf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mpd="sng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3453" autoAdjust="0"/>
  </p:normalViewPr>
  <p:slideViewPr>
    <p:cSldViewPr snapToGrid="0" showGuides="1">
      <p:cViewPr varScale="1">
        <p:scale>
          <a:sx n="106" d="100"/>
          <a:sy n="106" d="100"/>
        </p:scale>
        <p:origin x="67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>
        <p:scale>
          <a:sx n="190" d="100"/>
          <a:sy n="190" d="100"/>
        </p:scale>
        <p:origin x="1536" y="-29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293803418803418"/>
          <c:y val="8.3994708994708997E-3"/>
          <c:w val="0.79412393162393158"/>
          <c:h val="0.98320105820105819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08D3-46AC-BD9E-0E4A040C2704}"/>
              </c:ext>
            </c:extLst>
          </c:dPt>
          <c:dPt>
            <c:idx val="1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10FB-405E-9FBB-8D68DA89AF44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26.9</c:v>
                </c:pt>
                <c:pt idx="1">
                  <c:v>73.0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0FB-405E-9FBB-8D68DA89A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NL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29217209801101"/>
          <c:y val="2.30918850938465E-2"/>
          <c:w val="0.74252887378184695"/>
          <c:h val="0.844397916592926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D international</c:v>
                </c:pt>
              </c:strCache>
            </c:strRef>
          </c:tx>
          <c:spPr>
            <a:ln w="9525">
              <a:solidFill>
                <a:schemeClr val="bg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 w="952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253-48BF-ABFB-6A92A8F2E75E}"/>
              </c:ext>
            </c:extLst>
          </c:dPt>
          <c:dPt>
            <c:idx val="4"/>
            <c:invertIfNegative val="0"/>
            <c:bubble3D val="0"/>
            <c:spPr>
              <a:solidFill>
                <a:schemeClr val="bg2"/>
              </a:solidFill>
              <a:ln w="952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253-48BF-ABFB-6A92A8F2E75E}"/>
              </c:ext>
            </c:extLst>
          </c:dPt>
          <c:dLbls>
            <c:dLbl>
              <c:idx val="0"/>
              <c:numFmt formatCode="0.0%" sourceLinked="0"/>
              <c:spPr>
                <a:noFill/>
                <a:ln w="24851">
                  <a:noFill/>
                </a:ln>
              </c:spPr>
              <c:txPr>
                <a:bodyPr/>
                <a:lstStyle/>
                <a:p>
                  <a:pPr>
                    <a:defRPr lang="en-US" sz="800" b="0" noProof="0">
                      <a:solidFill>
                        <a:schemeClr val="tx1"/>
                      </a:solidFill>
                    </a:defRPr>
                  </a:pPr>
                  <a:endParaRPr lang="en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253-48BF-ABFB-6A92A8F2E75E}"/>
                </c:ext>
              </c:extLst>
            </c:dLbl>
            <c:dLbl>
              <c:idx val="1"/>
              <c:numFmt formatCode="0.0%" sourceLinked="0"/>
              <c:spPr>
                <a:noFill/>
                <a:ln w="24851">
                  <a:noFill/>
                </a:ln>
              </c:spPr>
              <c:txPr>
                <a:bodyPr/>
                <a:lstStyle/>
                <a:p>
                  <a:pPr>
                    <a:defRPr lang="en-US" sz="800" b="0" noProof="0">
                      <a:solidFill>
                        <a:schemeClr val="tx1"/>
                      </a:solidFill>
                    </a:defRPr>
                  </a:pPr>
                  <a:endParaRPr lang="en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253-48BF-ABFB-6A92A8F2E75E}"/>
                </c:ext>
              </c:extLst>
            </c:dLbl>
            <c:numFmt formatCode="0.0%" sourceLinked="0"/>
            <c:spPr>
              <a:noFill/>
              <a:ln w="24851">
                <a:noFill/>
              </a:ln>
            </c:spPr>
            <c:txPr>
              <a:bodyPr/>
              <a:lstStyle/>
              <a:p>
                <a:pPr>
                  <a:defRPr lang="en-US" sz="800" b="1" noProof="0">
                    <a:solidFill>
                      <a:schemeClr val="tx1"/>
                    </a:solidFill>
                  </a:defRPr>
                </a:pPr>
                <a:endParaRPr lang="en-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YTD okt. '18</c:v>
                </c:pt>
                <c:pt idx="1">
                  <c:v>YTD okt. '19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26200000000000001</c:v>
                </c:pt>
                <c:pt idx="1">
                  <c:v>0.274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253-48BF-ABFB-6A92A8F2E7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536230608"/>
        <c:axId val="536230192"/>
      </c:barChart>
      <c:catAx>
        <c:axId val="5362306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NL"/>
          </a:p>
        </c:txPr>
        <c:crossAx val="536230192"/>
        <c:crosses val="autoZero"/>
        <c:auto val="1"/>
        <c:lblAlgn val="ctr"/>
        <c:lblOffset val="100"/>
        <c:noMultiLvlLbl val="0"/>
      </c:catAx>
      <c:valAx>
        <c:axId val="536230192"/>
        <c:scaling>
          <c:orientation val="minMax"/>
          <c:max val="0.60000000000000009"/>
          <c:min val="0"/>
        </c:scaling>
        <c:delete val="0"/>
        <c:axPos val="l"/>
        <c:numFmt formatCode="0.0%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NL"/>
          </a:p>
        </c:txPr>
        <c:crossAx val="536230608"/>
        <c:crosses val="autoZero"/>
        <c:crossBetween val="between"/>
        <c:majorUnit val="0.1"/>
      </c:valAx>
      <c:spPr>
        <a:noFill/>
        <a:ln w="24851">
          <a:noFill/>
        </a:ln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200" b="0" i="0" u="none" strike="noStrike" baseline="0">
          <a:solidFill>
            <a:schemeClr val="tx1"/>
          </a:solidFill>
          <a:latin typeface="+mn-lt"/>
          <a:ea typeface="Arial"/>
          <a:cs typeface="Arial"/>
        </a:defRPr>
      </a:pPr>
      <a:endParaRPr lang="en-NL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29217209801101"/>
          <c:y val="2.30918850938465E-2"/>
          <c:w val="0.74252887378184695"/>
          <c:h val="0.844397916592926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D nationaal</c:v>
                </c:pt>
              </c:strCache>
            </c:strRef>
          </c:tx>
          <c:spPr>
            <a:ln w="9525">
              <a:solidFill>
                <a:schemeClr val="bg1"/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 w="952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12B-46EF-8DEA-8B6787584AB2}"/>
              </c:ext>
            </c:extLst>
          </c:dPt>
          <c:dPt>
            <c:idx val="4"/>
            <c:invertIfNegative val="0"/>
            <c:bubble3D val="0"/>
            <c:spPr>
              <a:solidFill>
                <a:schemeClr val="bg2"/>
              </a:solidFill>
              <a:ln w="952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12B-46EF-8DEA-8B6787584AB2}"/>
              </c:ext>
            </c:extLst>
          </c:dPt>
          <c:dLbls>
            <c:dLbl>
              <c:idx val="0"/>
              <c:numFmt formatCode="0.0%" sourceLinked="0"/>
              <c:spPr>
                <a:noFill/>
                <a:ln w="24851">
                  <a:noFill/>
                </a:ln>
              </c:spPr>
              <c:txPr>
                <a:bodyPr/>
                <a:lstStyle/>
                <a:p>
                  <a:pPr>
                    <a:defRPr lang="en-US" sz="800" b="0" noProof="0">
                      <a:solidFill>
                        <a:schemeClr val="tx1"/>
                      </a:solidFill>
                    </a:defRPr>
                  </a:pPr>
                  <a:endParaRPr lang="en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12B-46EF-8DEA-8B6787584AB2}"/>
                </c:ext>
              </c:extLst>
            </c:dLbl>
            <c:dLbl>
              <c:idx val="1"/>
              <c:numFmt formatCode="0.0%" sourceLinked="0"/>
              <c:spPr>
                <a:noFill/>
                <a:ln w="24851">
                  <a:noFill/>
                </a:ln>
              </c:spPr>
              <c:txPr>
                <a:bodyPr/>
                <a:lstStyle/>
                <a:p>
                  <a:pPr>
                    <a:defRPr lang="en-US" sz="800" b="0" noProof="0">
                      <a:solidFill>
                        <a:schemeClr val="tx1"/>
                      </a:solidFill>
                    </a:defRPr>
                  </a:pPr>
                  <a:endParaRPr lang="en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12B-46EF-8DEA-8B6787584AB2}"/>
                </c:ext>
              </c:extLst>
            </c:dLbl>
            <c:numFmt formatCode="0.0%" sourceLinked="0"/>
            <c:spPr>
              <a:noFill/>
              <a:ln w="24851">
                <a:noFill/>
              </a:ln>
            </c:spPr>
            <c:txPr>
              <a:bodyPr/>
              <a:lstStyle/>
              <a:p>
                <a:pPr>
                  <a:defRPr lang="en-US" sz="800" b="1" noProof="0">
                    <a:solidFill>
                      <a:schemeClr val="tx1"/>
                    </a:solidFill>
                  </a:defRPr>
                </a:pPr>
                <a:endParaRPr lang="en-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YTD okt. '18</c:v>
                </c:pt>
                <c:pt idx="1">
                  <c:v>YTD okt. '19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55000000000000004</c:v>
                </c:pt>
                <c:pt idx="1">
                  <c:v>0.561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12B-46EF-8DEA-8B6787584A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536230608"/>
        <c:axId val="536230192"/>
      </c:barChart>
      <c:catAx>
        <c:axId val="5362306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NL"/>
          </a:p>
        </c:txPr>
        <c:crossAx val="536230192"/>
        <c:crosses val="autoZero"/>
        <c:auto val="1"/>
        <c:lblAlgn val="ctr"/>
        <c:lblOffset val="100"/>
        <c:noMultiLvlLbl val="0"/>
      </c:catAx>
      <c:valAx>
        <c:axId val="536230192"/>
        <c:scaling>
          <c:orientation val="minMax"/>
          <c:max val="0.60000000000000009"/>
          <c:min val="0"/>
        </c:scaling>
        <c:delete val="1"/>
        <c:axPos val="l"/>
        <c:numFmt formatCode="0.0%" sourceLinked="1"/>
        <c:majorTickMark val="out"/>
        <c:minorTickMark val="none"/>
        <c:tickLblPos val="nextTo"/>
        <c:crossAx val="536230608"/>
        <c:crosses val="autoZero"/>
        <c:crossBetween val="between"/>
        <c:majorUnit val="0.1"/>
      </c:valAx>
      <c:spPr>
        <a:noFill/>
        <a:ln w="24851">
          <a:noFill/>
        </a:ln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200" b="0" i="0" u="none" strike="noStrike" baseline="0">
          <a:solidFill>
            <a:schemeClr val="tx1"/>
          </a:solidFill>
          <a:latin typeface="+mn-lt"/>
          <a:ea typeface="Arial"/>
          <a:cs typeface="Arial"/>
        </a:defRPr>
      </a:pPr>
      <a:endParaRPr lang="en-NL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2018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B$1:$AS$1</c:f>
              <c:strCache>
                <c:ptCount val="44"/>
                <c:pt idx="0">
                  <c:v>w1</c:v>
                </c:pt>
                <c:pt idx="1">
                  <c:v>w2</c:v>
                </c:pt>
                <c:pt idx="2">
                  <c:v>w3</c:v>
                </c:pt>
                <c:pt idx="3">
                  <c:v>w4</c:v>
                </c:pt>
                <c:pt idx="4">
                  <c:v>w5</c:v>
                </c:pt>
                <c:pt idx="5">
                  <c:v>w6</c:v>
                </c:pt>
                <c:pt idx="6">
                  <c:v>w7</c:v>
                </c:pt>
                <c:pt idx="7">
                  <c:v>w8</c:v>
                </c:pt>
                <c:pt idx="8">
                  <c:v>w9</c:v>
                </c:pt>
                <c:pt idx="9">
                  <c:v>w10</c:v>
                </c:pt>
                <c:pt idx="10">
                  <c:v>w11</c:v>
                </c:pt>
                <c:pt idx="11">
                  <c:v>w12</c:v>
                </c:pt>
                <c:pt idx="12">
                  <c:v>w13</c:v>
                </c:pt>
                <c:pt idx="13">
                  <c:v>w14</c:v>
                </c:pt>
                <c:pt idx="14">
                  <c:v>w15</c:v>
                </c:pt>
                <c:pt idx="15">
                  <c:v>w16</c:v>
                </c:pt>
                <c:pt idx="16">
                  <c:v>w17</c:v>
                </c:pt>
                <c:pt idx="17">
                  <c:v>w18</c:v>
                </c:pt>
                <c:pt idx="18">
                  <c:v>w19</c:v>
                </c:pt>
                <c:pt idx="19">
                  <c:v>w20</c:v>
                </c:pt>
                <c:pt idx="20">
                  <c:v>w21</c:v>
                </c:pt>
                <c:pt idx="21">
                  <c:v>w22</c:v>
                </c:pt>
                <c:pt idx="22">
                  <c:v>w23</c:v>
                </c:pt>
                <c:pt idx="23">
                  <c:v>w24</c:v>
                </c:pt>
                <c:pt idx="24">
                  <c:v>w25</c:v>
                </c:pt>
                <c:pt idx="25">
                  <c:v>w26</c:v>
                </c:pt>
                <c:pt idx="26">
                  <c:v>w27</c:v>
                </c:pt>
                <c:pt idx="27">
                  <c:v>w28</c:v>
                </c:pt>
                <c:pt idx="28">
                  <c:v>w29</c:v>
                </c:pt>
                <c:pt idx="29">
                  <c:v>w30</c:v>
                </c:pt>
                <c:pt idx="30">
                  <c:v>w31</c:v>
                </c:pt>
                <c:pt idx="31">
                  <c:v>w32</c:v>
                </c:pt>
                <c:pt idx="32">
                  <c:v>w33</c:v>
                </c:pt>
                <c:pt idx="33">
                  <c:v>w34</c:v>
                </c:pt>
                <c:pt idx="34">
                  <c:v>w35</c:v>
                </c:pt>
                <c:pt idx="35">
                  <c:v>w36</c:v>
                </c:pt>
                <c:pt idx="36">
                  <c:v>w37</c:v>
                </c:pt>
                <c:pt idx="37">
                  <c:v>w38</c:v>
                </c:pt>
                <c:pt idx="38">
                  <c:v>w39</c:v>
                </c:pt>
                <c:pt idx="39">
                  <c:v>w40</c:v>
                </c:pt>
                <c:pt idx="40">
                  <c:v>w41</c:v>
                </c:pt>
                <c:pt idx="41">
                  <c:v>w42</c:v>
                </c:pt>
                <c:pt idx="42">
                  <c:v>w43</c:v>
                </c:pt>
                <c:pt idx="43">
                  <c:v>w44</c:v>
                </c:pt>
              </c:strCache>
            </c:strRef>
          </c:cat>
          <c:val>
            <c:numRef>
              <c:f>Sheet1!$B$2:$AS$2</c:f>
              <c:numCache>
                <c:formatCode>General</c:formatCode>
                <c:ptCount val="44"/>
                <c:pt idx="0">
                  <c:v>7</c:v>
                </c:pt>
                <c:pt idx="1">
                  <c:v>7</c:v>
                </c:pt>
                <c:pt idx="2">
                  <c:v>8</c:v>
                </c:pt>
                <c:pt idx="3">
                  <c:v>9</c:v>
                </c:pt>
                <c:pt idx="4">
                  <c:v>12</c:v>
                </c:pt>
                <c:pt idx="5">
                  <c:v>10</c:v>
                </c:pt>
                <c:pt idx="6">
                  <c:v>13</c:v>
                </c:pt>
                <c:pt idx="7">
                  <c:v>10</c:v>
                </c:pt>
                <c:pt idx="8">
                  <c:v>8</c:v>
                </c:pt>
                <c:pt idx="9">
                  <c:v>9</c:v>
                </c:pt>
                <c:pt idx="10">
                  <c:v>9</c:v>
                </c:pt>
                <c:pt idx="11">
                  <c:v>7</c:v>
                </c:pt>
                <c:pt idx="12">
                  <c:v>5</c:v>
                </c:pt>
                <c:pt idx="13">
                  <c:v>15</c:v>
                </c:pt>
                <c:pt idx="14">
                  <c:v>11</c:v>
                </c:pt>
                <c:pt idx="15">
                  <c:v>8</c:v>
                </c:pt>
                <c:pt idx="16">
                  <c:v>16</c:v>
                </c:pt>
                <c:pt idx="17">
                  <c:v>7</c:v>
                </c:pt>
                <c:pt idx="18">
                  <c:v>5</c:v>
                </c:pt>
                <c:pt idx="19">
                  <c:v>10</c:v>
                </c:pt>
                <c:pt idx="20">
                  <c:v>10</c:v>
                </c:pt>
                <c:pt idx="21">
                  <c:v>7</c:v>
                </c:pt>
                <c:pt idx="22">
                  <c:v>10</c:v>
                </c:pt>
                <c:pt idx="23">
                  <c:v>10</c:v>
                </c:pt>
                <c:pt idx="24">
                  <c:v>12</c:v>
                </c:pt>
                <c:pt idx="25">
                  <c:v>15</c:v>
                </c:pt>
                <c:pt idx="26">
                  <c:v>11</c:v>
                </c:pt>
                <c:pt idx="27">
                  <c:v>16</c:v>
                </c:pt>
                <c:pt idx="28">
                  <c:v>14</c:v>
                </c:pt>
                <c:pt idx="29">
                  <c:v>9</c:v>
                </c:pt>
                <c:pt idx="30">
                  <c:v>12</c:v>
                </c:pt>
                <c:pt idx="31">
                  <c:v>12</c:v>
                </c:pt>
                <c:pt idx="32">
                  <c:v>13</c:v>
                </c:pt>
                <c:pt idx="33">
                  <c:v>12</c:v>
                </c:pt>
                <c:pt idx="34">
                  <c:v>11</c:v>
                </c:pt>
                <c:pt idx="35">
                  <c:v>9</c:v>
                </c:pt>
                <c:pt idx="36">
                  <c:v>12</c:v>
                </c:pt>
                <c:pt idx="37">
                  <c:v>11</c:v>
                </c:pt>
                <c:pt idx="38">
                  <c:v>11</c:v>
                </c:pt>
                <c:pt idx="39">
                  <c:v>9</c:v>
                </c:pt>
                <c:pt idx="40">
                  <c:v>15</c:v>
                </c:pt>
                <c:pt idx="41">
                  <c:v>14</c:v>
                </c:pt>
                <c:pt idx="42">
                  <c:v>11</c:v>
                </c:pt>
                <c:pt idx="43">
                  <c:v>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E06-4014-85C6-B8BDEBD97040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201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B$1:$AS$1</c:f>
              <c:strCache>
                <c:ptCount val="44"/>
                <c:pt idx="0">
                  <c:v>w1</c:v>
                </c:pt>
                <c:pt idx="1">
                  <c:v>w2</c:v>
                </c:pt>
                <c:pt idx="2">
                  <c:v>w3</c:v>
                </c:pt>
                <c:pt idx="3">
                  <c:v>w4</c:v>
                </c:pt>
                <c:pt idx="4">
                  <c:v>w5</c:v>
                </c:pt>
                <c:pt idx="5">
                  <c:v>w6</c:v>
                </c:pt>
                <c:pt idx="6">
                  <c:v>w7</c:v>
                </c:pt>
                <c:pt idx="7">
                  <c:v>w8</c:v>
                </c:pt>
                <c:pt idx="8">
                  <c:v>w9</c:v>
                </c:pt>
                <c:pt idx="9">
                  <c:v>w10</c:v>
                </c:pt>
                <c:pt idx="10">
                  <c:v>w11</c:v>
                </c:pt>
                <c:pt idx="11">
                  <c:v>w12</c:v>
                </c:pt>
                <c:pt idx="12">
                  <c:v>w13</c:v>
                </c:pt>
                <c:pt idx="13">
                  <c:v>w14</c:v>
                </c:pt>
                <c:pt idx="14">
                  <c:v>w15</c:v>
                </c:pt>
                <c:pt idx="15">
                  <c:v>w16</c:v>
                </c:pt>
                <c:pt idx="16">
                  <c:v>w17</c:v>
                </c:pt>
                <c:pt idx="17">
                  <c:v>w18</c:v>
                </c:pt>
                <c:pt idx="18">
                  <c:v>w19</c:v>
                </c:pt>
                <c:pt idx="19">
                  <c:v>w20</c:v>
                </c:pt>
                <c:pt idx="20">
                  <c:v>w21</c:v>
                </c:pt>
                <c:pt idx="21">
                  <c:v>w22</c:v>
                </c:pt>
                <c:pt idx="22">
                  <c:v>w23</c:v>
                </c:pt>
                <c:pt idx="23">
                  <c:v>w24</c:v>
                </c:pt>
                <c:pt idx="24">
                  <c:v>w25</c:v>
                </c:pt>
                <c:pt idx="25">
                  <c:v>w26</c:v>
                </c:pt>
                <c:pt idx="26">
                  <c:v>w27</c:v>
                </c:pt>
                <c:pt idx="27">
                  <c:v>w28</c:v>
                </c:pt>
                <c:pt idx="28">
                  <c:v>w29</c:v>
                </c:pt>
                <c:pt idx="29">
                  <c:v>w30</c:v>
                </c:pt>
                <c:pt idx="30">
                  <c:v>w31</c:v>
                </c:pt>
                <c:pt idx="31">
                  <c:v>w32</c:v>
                </c:pt>
                <c:pt idx="32">
                  <c:v>w33</c:v>
                </c:pt>
                <c:pt idx="33">
                  <c:v>w34</c:v>
                </c:pt>
                <c:pt idx="34">
                  <c:v>w35</c:v>
                </c:pt>
                <c:pt idx="35">
                  <c:v>w36</c:v>
                </c:pt>
                <c:pt idx="36">
                  <c:v>w37</c:v>
                </c:pt>
                <c:pt idx="37">
                  <c:v>w38</c:v>
                </c:pt>
                <c:pt idx="38">
                  <c:v>w39</c:v>
                </c:pt>
                <c:pt idx="39">
                  <c:v>w40</c:v>
                </c:pt>
                <c:pt idx="40">
                  <c:v>w41</c:v>
                </c:pt>
                <c:pt idx="41">
                  <c:v>w42</c:v>
                </c:pt>
                <c:pt idx="42">
                  <c:v>w43</c:v>
                </c:pt>
                <c:pt idx="43">
                  <c:v>w44</c:v>
                </c:pt>
              </c:strCache>
            </c:strRef>
          </c:cat>
          <c:val>
            <c:numRef>
              <c:f>Sheet1!$B$3:$AS$3</c:f>
              <c:numCache>
                <c:formatCode>General</c:formatCode>
                <c:ptCount val="44"/>
                <c:pt idx="0">
                  <c:v>12</c:v>
                </c:pt>
                <c:pt idx="1">
                  <c:v>11</c:v>
                </c:pt>
                <c:pt idx="2">
                  <c:v>9</c:v>
                </c:pt>
                <c:pt idx="3">
                  <c:v>12</c:v>
                </c:pt>
                <c:pt idx="4">
                  <c:v>10</c:v>
                </c:pt>
                <c:pt idx="5">
                  <c:v>13</c:v>
                </c:pt>
                <c:pt idx="6">
                  <c:v>13</c:v>
                </c:pt>
                <c:pt idx="7">
                  <c:v>13</c:v>
                </c:pt>
                <c:pt idx="8">
                  <c:v>16</c:v>
                </c:pt>
                <c:pt idx="9">
                  <c:v>22</c:v>
                </c:pt>
                <c:pt idx="10">
                  <c:v>22</c:v>
                </c:pt>
                <c:pt idx="11">
                  <c:v>25</c:v>
                </c:pt>
                <c:pt idx="12">
                  <c:v>24</c:v>
                </c:pt>
                <c:pt idx="13">
                  <c:v>20</c:v>
                </c:pt>
                <c:pt idx="14">
                  <c:v>22</c:v>
                </c:pt>
                <c:pt idx="15">
                  <c:v>26</c:v>
                </c:pt>
                <c:pt idx="16">
                  <c:v>24</c:v>
                </c:pt>
                <c:pt idx="17">
                  <c:v>22</c:v>
                </c:pt>
                <c:pt idx="18">
                  <c:v>27</c:v>
                </c:pt>
                <c:pt idx="19">
                  <c:v>26</c:v>
                </c:pt>
                <c:pt idx="20">
                  <c:v>23</c:v>
                </c:pt>
                <c:pt idx="21">
                  <c:v>21</c:v>
                </c:pt>
                <c:pt idx="22">
                  <c:v>22</c:v>
                </c:pt>
                <c:pt idx="23">
                  <c:v>22</c:v>
                </c:pt>
                <c:pt idx="24">
                  <c:v>21</c:v>
                </c:pt>
                <c:pt idx="25">
                  <c:v>20</c:v>
                </c:pt>
                <c:pt idx="26">
                  <c:v>26</c:v>
                </c:pt>
                <c:pt idx="27">
                  <c:v>24</c:v>
                </c:pt>
                <c:pt idx="28">
                  <c:v>20</c:v>
                </c:pt>
                <c:pt idx="29">
                  <c:v>21</c:v>
                </c:pt>
                <c:pt idx="30">
                  <c:v>21</c:v>
                </c:pt>
                <c:pt idx="31">
                  <c:v>24</c:v>
                </c:pt>
                <c:pt idx="32">
                  <c:v>29</c:v>
                </c:pt>
                <c:pt idx="33">
                  <c:v>28</c:v>
                </c:pt>
                <c:pt idx="34">
                  <c:v>25</c:v>
                </c:pt>
                <c:pt idx="35">
                  <c:v>27</c:v>
                </c:pt>
                <c:pt idx="36">
                  <c:v>27</c:v>
                </c:pt>
                <c:pt idx="37">
                  <c:v>27</c:v>
                </c:pt>
                <c:pt idx="38">
                  <c:v>27</c:v>
                </c:pt>
                <c:pt idx="39">
                  <c:v>29</c:v>
                </c:pt>
                <c:pt idx="40">
                  <c:v>25</c:v>
                </c:pt>
                <c:pt idx="41">
                  <c:v>24</c:v>
                </c:pt>
                <c:pt idx="42">
                  <c:v>29</c:v>
                </c:pt>
                <c:pt idx="43">
                  <c:v>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E06-4014-85C6-B8BDEBD970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6350527"/>
        <c:axId val="1120613919"/>
      </c:lineChart>
      <c:catAx>
        <c:axId val="11663505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120613919"/>
        <c:crosses val="autoZero"/>
        <c:auto val="1"/>
        <c:lblAlgn val="ctr"/>
        <c:lblOffset val="100"/>
        <c:noMultiLvlLbl val="0"/>
      </c:catAx>
      <c:valAx>
        <c:axId val="11206139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16635052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92508503701611E-2"/>
          <c:y val="4.3186234308570846E-2"/>
          <c:w val="0.77905099867000926"/>
          <c:h val="0.782382611157542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TD okt 2018</c:v>
                </c:pt>
              </c:strCache>
            </c:strRef>
          </c:tx>
          <c:spPr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126-455C-A4D0-523DB620FC6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Singles</c:v>
                </c:pt>
                <c:pt idx="1">
                  <c:v>Albums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9.0999999999999998E-2</c:v>
                </c:pt>
                <c:pt idx="1">
                  <c:v>0.1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26-455C-A4D0-523DB620FC6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YTD okt 2019</c:v>
                </c:pt>
              </c:strCache>
            </c:strRef>
          </c:tx>
          <c:spPr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Singles</c:v>
                </c:pt>
                <c:pt idx="1">
                  <c:v>Albums</c:v>
                </c:pt>
              </c:strCache>
            </c:strRef>
          </c:cat>
          <c:val>
            <c:numRef>
              <c:f>Sheet1!$C$2:$C$3</c:f>
              <c:numCache>
                <c:formatCode>0.0%</c:formatCode>
                <c:ptCount val="2"/>
                <c:pt idx="0">
                  <c:v>0.215</c:v>
                </c:pt>
                <c:pt idx="1">
                  <c:v>0.20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126-455C-A4D0-523DB620FC6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10"/>
        <c:axId val="472806104"/>
        <c:axId val="472807280"/>
      </c:barChart>
      <c:catAx>
        <c:axId val="472806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900"/>
            </a:pPr>
            <a:endParaRPr lang="en-NL"/>
          </a:p>
        </c:txPr>
        <c:crossAx val="472807280"/>
        <c:crosses val="autoZero"/>
        <c:auto val="1"/>
        <c:lblAlgn val="ctr"/>
        <c:lblOffset val="100"/>
        <c:noMultiLvlLbl val="0"/>
      </c:catAx>
      <c:valAx>
        <c:axId val="472807280"/>
        <c:scaling>
          <c:orientation val="minMax"/>
          <c:max val="0.25"/>
          <c:min val="0"/>
        </c:scaling>
        <c:delete val="0"/>
        <c:axPos val="l"/>
        <c:majorGridlines>
          <c:spPr>
            <a:ln w="9525">
              <a:solidFill>
                <a:schemeClr val="bg2">
                  <a:lumMod val="40000"/>
                  <a:lumOff val="60000"/>
                </a:schemeClr>
              </a:solidFill>
            </a:ln>
          </c:spPr>
        </c:majorGridlines>
        <c:numFmt formatCode="0.0%" sourceLinked="1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/>
            </a:pPr>
            <a:endParaRPr lang="en-NL"/>
          </a:p>
        </c:txPr>
        <c:crossAx val="472806104"/>
        <c:crosses val="autoZero"/>
        <c:crossBetween val="between"/>
        <c:majorUnit val="5.000000000000001E-2"/>
      </c:valAx>
    </c:plotArea>
    <c:legend>
      <c:legendPos val="b"/>
      <c:overlay val="0"/>
      <c:txPr>
        <a:bodyPr/>
        <a:lstStyle/>
        <a:p>
          <a:pPr>
            <a:defRPr sz="900"/>
          </a:pPr>
          <a:endParaRPr lang="en-NL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NL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32905982905984E-2"/>
          <c:y val="0"/>
          <c:w val="0.86992521367521369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</c:spPr>
          <c:dPt>
            <c:idx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10A2-456A-9F1C-28E07DD5C9A4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10A2-456A-9F1C-28E07DD5C9A4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33</c:v>
                </c:pt>
                <c:pt idx="1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0A2-456A-9F1C-28E07DD5C9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NL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5801282051282046E-2"/>
          <c:y val="0"/>
          <c:w val="0.84839743589743588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9329-4338-8CFC-A8181BD43F38}"/>
              </c:ext>
            </c:extLst>
          </c:dPt>
          <c:dPt>
            <c:idx val="1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9329-4338-8CFC-A8181BD43F38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39.9</c:v>
                </c:pt>
                <c:pt idx="1">
                  <c:v>6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329-4338-8CFC-A8181BD43F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NL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Grafiek CD&amp;LP per week'!$A$2</c:f>
              <c:strCache>
                <c:ptCount val="1"/>
                <c:pt idx="0">
                  <c:v>Omzet per week x mln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cat>
            <c:strRef>
              <c:f>'Grafiek CD&amp;LP per week'!$B$1:$AS$1</c:f>
              <c:strCache>
                <c:ptCount val="44"/>
                <c:pt idx="0">
                  <c:v>w1</c:v>
                </c:pt>
                <c:pt idx="1">
                  <c:v>w2</c:v>
                </c:pt>
                <c:pt idx="2">
                  <c:v>w3</c:v>
                </c:pt>
                <c:pt idx="3">
                  <c:v>w4</c:v>
                </c:pt>
                <c:pt idx="4">
                  <c:v>w5</c:v>
                </c:pt>
                <c:pt idx="5">
                  <c:v>w6</c:v>
                </c:pt>
                <c:pt idx="6">
                  <c:v>w7</c:v>
                </c:pt>
                <c:pt idx="7">
                  <c:v>w8</c:v>
                </c:pt>
                <c:pt idx="8">
                  <c:v>w9</c:v>
                </c:pt>
                <c:pt idx="9">
                  <c:v>w10</c:v>
                </c:pt>
                <c:pt idx="10">
                  <c:v>w11</c:v>
                </c:pt>
                <c:pt idx="11">
                  <c:v>w12</c:v>
                </c:pt>
                <c:pt idx="12">
                  <c:v>w13</c:v>
                </c:pt>
                <c:pt idx="13">
                  <c:v>w14</c:v>
                </c:pt>
                <c:pt idx="14">
                  <c:v>w15</c:v>
                </c:pt>
                <c:pt idx="15">
                  <c:v>w16</c:v>
                </c:pt>
                <c:pt idx="16">
                  <c:v>w17</c:v>
                </c:pt>
                <c:pt idx="17">
                  <c:v>w18</c:v>
                </c:pt>
                <c:pt idx="18">
                  <c:v>w19</c:v>
                </c:pt>
                <c:pt idx="19">
                  <c:v>w20</c:v>
                </c:pt>
                <c:pt idx="20">
                  <c:v>w21</c:v>
                </c:pt>
                <c:pt idx="21">
                  <c:v>w22</c:v>
                </c:pt>
                <c:pt idx="22">
                  <c:v>w23</c:v>
                </c:pt>
                <c:pt idx="23">
                  <c:v>w24</c:v>
                </c:pt>
                <c:pt idx="24">
                  <c:v>w25</c:v>
                </c:pt>
                <c:pt idx="25">
                  <c:v>w26</c:v>
                </c:pt>
                <c:pt idx="26">
                  <c:v>w27</c:v>
                </c:pt>
                <c:pt idx="27">
                  <c:v>w28</c:v>
                </c:pt>
                <c:pt idx="28">
                  <c:v>w29</c:v>
                </c:pt>
                <c:pt idx="29">
                  <c:v>w30</c:v>
                </c:pt>
                <c:pt idx="30">
                  <c:v>w31</c:v>
                </c:pt>
                <c:pt idx="31">
                  <c:v>w32</c:v>
                </c:pt>
                <c:pt idx="32">
                  <c:v>w33</c:v>
                </c:pt>
                <c:pt idx="33">
                  <c:v>w34</c:v>
                </c:pt>
                <c:pt idx="34">
                  <c:v>w35</c:v>
                </c:pt>
                <c:pt idx="35">
                  <c:v>w36</c:v>
                </c:pt>
                <c:pt idx="36">
                  <c:v>w37</c:v>
                </c:pt>
                <c:pt idx="37">
                  <c:v>w38</c:v>
                </c:pt>
                <c:pt idx="38">
                  <c:v>w39</c:v>
                </c:pt>
                <c:pt idx="39">
                  <c:v>w40</c:v>
                </c:pt>
                <c:pt idx="40">
                  <c:v>w41</c:v>
                </c:pt>
                <c:pt idx="41">
                  <c:v>w42</c:v>
                </c:pt>
                <c:pt idx="42">
                  <c:v>w43</c:v>
                </c:pt>
                <c:pt idx="43">
                  <c:v>w44</c:v>
                </c:pt>
              </c:strCache>
            </c:strRef>
          </c:cat>
          <c:val>
            <c:numRef>
              <c:f>'Grafiek CD&amp;LP per week'!$B$2:$AS$2</c:f>
              <c:numCache>
                <c:formatCode>0.0</c:formatCode>
                <c:ptCount val="44"/>
                <c:pt idx="0">
                  <c:v>0.84691799999999995</c:v>
                </c:pt>
                <c:pt idx="1">
                  <c:v>0.80484900000000004</c:v>
                </c:pt>
                <c:pt idx="2">
                  <c:v>0.77634400000000003</c:v>
                </c:pt>
                <c:pt idx="3">
                  <c:v>0.85906499999999997</c:v>
                </c:pt>
                <c:pt idx="4">
                  <c:v>0.93480200000000002</c:v>
                </c:pt>
                <c:pt idx="5">
                  <c:v>0.89489799999999997</c:v>
                </c:pt>
                <c:pt idx="6">
                  <c:v>0.86578999999999995</c:v>
                </c:pt>
                <c:pt idx="7">
                  <c:v>0.86555599999999999</c:v>
                </c:pt>
                <c:pt idx="8">
                  <c:v>0.88583699999999999</c:v>
                </c:pt>
                <c:pt idx="9">
                  <c:v>0.81040299999999998</c:v>
                </c:pt>
                <c:pt idx="10">
                  <c:v>0.71991300000000003</c:v>
                </c:pt>
                <c:pt idx="11">
                  <c:v>0.71548999999999996</c:v>
                </c:pt>
                <c:pt idx="12">
                  <c:v>0.92899600000000004</c:v>
                </c:pt>
                <c:pt idx="13">
                  <c:v>0.76213299999999995</c:v>
                </c:pt>
                <c:pt idx="14">
                  <c:v>1.1454139999999999</c:v>
                </c:pt>
                <c:pt idx="15">
                  <c:v>0.73661200000000004</c:v>
                </c:pt>
                <c:pt idx="16">
                  <c:v>0.75084399999999996</c:v>
                </c:pt>
                <c:pt idx="17">
                  <c:v>0.95777500000000004</c:v>
                </c:pt>
                <c:pt idx="18">
                  <c:v>0.85109299999999999</c:v>
                </c:pt>
                <c:pt idx="19">
                  <c:v>0.82413899999999995</c:v>
                </c:pt>
                <c:pt idx="20">
                  <c:v>0.91412199999999999</c:v>
                </c:pt>
                <c:pt idx="21">
                  <c:v>0.90159900000000004</c:v>
                </c:pt>
                <c:pt idx="22">
                  <c:v>0.85241699999999998</c:v>
                </c:pt>
                <c:pt idx="23">
                  <c:v>1.1070770000000001</c:v>
                </c:pt>
                <c:pt idx="24">
                  <c:v>0.873197</c:v>
                </c:pt>
                <c:pt idx="25">
                  <c:v>0.804616</c:v>
                </c:pt>
                <c:pt idx="26">
                  <c:v>0.96156600000000003</c:v>
                </c:pt>
                <c:pt idx="27">
                  <c:v>0.97449200000000002</c:v>
                </c:pt>
                <c:pt idx="28">
                  <c:v>0.91264400000000001</c:v>
                </c:pt>
                <c:pt idx="29">
                  <c:v>0.66348499999999999</c:v>
                </c:pt>
                <c:pt idx="30">
                  <c:v>0.75843499999999997</c:v>
                </c:pt>
                <c:pt idx="31">
                  <c:v>0.72867400000000004</c:v>
                </c:pt>
                <c:pt idx="32">
                  <c:v>0.76307599999999998</c:v>
                </c:pt>
                <c:pt idx="33">
                  <c:v>0.71920899999999999</c:v>
                </c:pt>
                <c:pt idx="34">
                  <c:v>0.84765400000000002</c:v>
                </c:pt>
                <c:pt idx="35">
                  <c:v>0.81559700000000002</c:v>
                </c:pt>
                <c:pt idx="36">
                  <c:v>0.71958299999999997</c:v>
                </c:pt>
                <c:pt idx="37">
                  <c:v>0.71259499999999998</c:v>
                </c:pt>
                <c:pt idx="38">
                  <c:v>1.0760080000000001</c:v>
                </c:pt>
                <c:pt idx="39">
                  <c:v>0.91641899999999998</c:v>
                </c:pt>
                <c:pt idx="40">
                  <c:v>0.81674800000000003</c:v>
                </c:pt>
                <c:pt idx="41">
                  <c:v>0.890065</c:v>
                </c:pt>
                <c:pt idx="42">
                  <c:v>1.2379800000000001</c:v>
                </c:pt>
                <c:pt idx="43">
                  <c:v>0.957463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1C-445E-9D0A-AF57972C8B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55159183"/>
        <c:axId val="637018655"/>
      </c:barChart>
      <c:lineChart>
        <c:grouping val="standard"/>
        <c:varyColors val="0"/>
        <c:ser>
          <c:idx val="1"/>
          <c:order val="1"/>
          <c:tx>
            <c:strRef>
              <c:f>'Grafiek CD&amp;LP per week'!$A$3</c:f>
              <c:strCache>
                <c:ptCount val="1"/>
                <c:pt idx="0">
                  <c:v>Aandeel indi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accent2"/>
              </a:solidFill>
              <a:ln w="9525">
                <a:noFill/>
              </a:ln>
              <a:effectLst/>
            </c:spPr>
          </c:marker>
          <c:cat>
            <c:strRef>
              <c:f>'Grafiek CD&amp;LP per week'!$B$1:$AS$1</c:f>
              <c:strCache>
                <c:ptCount val="44"/>
                <c:pt idx="0">
                  <c:v>w1</c:v>
                </c:pt>
                <c:pt idx="1">
                  <c:v>w2</c:v>
                </c:pt>
                <c:pt idx="2">
                  <c:v>w3</c:v>
                </c:pt>
                <c:pt idx="3">
                  <c:v>w4</c:v>
                </c:pt>
                <c:pt idx="4">
                  <c:v>w5</c:v>
                </c:pt>
                <c:pt idx="5">
                  <c:v>w6</c:v>
                </c:pt>
                <c:pt idx="6">
                  <c:v>w7</c:v>
                </c:pt>
                <c:pt idx="7">
                  <c:v>w8</c:v>
                </c:pt>
                <c:pt idx="8">
                  <c:v>w9</c:v>
                </c:pt>
                <c:pt idx="9">
                  <c:v>w10</c:v>
                </c:pt>
                <c:pt idx="10">
                  <c:v>w11</c:v>
                </c:pt>
                <c:pt idx="11">
                  <c:v>w12</c:v>
                </c:pt>
                <c:pt idx="12">
                  <c:v>w13</c:v>
                </c:pt>
                <c:pt idx="13">
                  <c:v>w14</c:v>
                </c:pt>
                <c:pt idx="14">
                  <c:v>w15</c:v>
                </c:pt>
                <c:pt idx="15">
                  <c:v>w16</c:v>
                </c:pt>
                <c:pt idx="16">
                  <c:v>w17</c:v>
                </c:pt>
                <c:pt idx="17">
                  <c:v>w18</c:v>
                </c:pt>
                <c:pt idx="18">
                  <c:v>w19</c:v>
                </c:pt>
                <c:pt idx="19">
                  <c:v>w20</c:v>
                </c:pt>
                <c:pt idx="20">
                  <c:v>w21</c:v>
                </c:pt>
                <c:pt idx="21">
                  <c:v>w22</c:v>
                </c:pt>
                <c:pt idx="22">
                  <c:v>w23</c:v>
                </c:pt>
                <c:pt idx="23">
                  <c:v>w24</c:v>
                </c:pt>
                <c:pt idx="24">
                  <c:v>w25</c:v>
                </c:pt>
                <c:pt idx="25">
                  <c:v>w26</c:v>
                </c:pt>
                <c:pt idx="26">
                  <c:v>w27</c:v>
                </c:pt>
                <c:pt idx="27">
                  <c:v>w28</c:v>
                </c:pt>
                <c:pt idx="28">
                  <c:v>w29</c:v>
                </c:pt>
                <c:pt idx="29">
                  <c:v>w30</c:v>
                </c:pt>
                <c:pt idx="30">
                  <c:v>w31</c:v>
                </c:pt>
                <c:pt idx="31">
                  <c:v>w32</c:v>
                </c:pt>
                <c:pt idx="32">
                  <c:v>w33</c:v>
                </c:pt>
                <c:pt idx="33">
                  <c:v>w34</c:v>
                </c:pt>
                <c:pt idx="34">
                  <c:v>w35</c:v>
                </c:pt>
                <c:pt idx="35">
                  <c:v>w36</c:v>
                </c:pt>
                <c:pt idx="36">
                  <c:v>w37</c:v>
                </c:pt>
                <c:pt idx="37">
                  <c:v>w38</c:v>
                </c:pt>
                <c:pt idx="38">
                  <c:v>w39</c:v>
                </c:pt>
                <c:pt idx="39">
                  <c:v>w40</c:v>
                </c:pt>
                <c:pt idx="40">
                  <c:v>w41</c:v>
                </c:pt>
                <c:pt idx="41">
                  <c:v>w42</c:v>
                </c:pt>
                <c:pt idx="42">
                  <c:v>w43</c:v>
                </c:pt>
                <c:pt idx="43">
                  <c:v>w44</c:v>
                </c:pt>
              </c:strCache>
            </c:strRef>
          </c:cat>
          <c:val>
            <c:numRef>
              <c:f>'Grafiek CD&amp;LP per week'!$B$3:$AS$3</c:f>
              <c:numCache>
                <c:formatCode>0.0%</c:formatCode>
                <c:ptCount val="44"/>
                <c:pt idx="0">
                  <c:v>0.29841377795725205</c:v>
                </c:pt>
                <c:pt idx="1">
                  <c:v>0.31895672355932603</c:v>
                </c:pt>
                <c:pt idx="2">
                  <c:v>0.32658460682377916</c:v>
                </c:pt>
                <c:pt idx="3">
                  <c:v>0.32648286218155786</c:v>
                </c:pt>
                <c:pt idx="4">
                  <c:v>0.33092355386488259</c:v>
                </c:pt>
                <c:pt idx="5">
                  <c:v>0.32183556114775091</c:v>
                </c:pt>
                <c:pt idx="6">
                  <c:v>0.3082213931784844</c:v>
                </c:pt>
                <c:pt idx="7">
                  <c:v>0.31961074731155464</c:v>
                </c:pt>
                <c:pt idx="8">
                  <c:v>0.31421469186769124</c:v>
                </c:pt>
                <c:pt idx="9">
                  <c:v>0.29099472731468173</c:v>
                </c:pt>
                <c:pt idx="10">
                  <c:v>0.31076393953158227</c:v>
                </c:pt>
                <c:pt idx="11">
                  <c:v>0.32526100993724583</c:v>
                </c:pt>
                <c:pt idx="12">
                  <c:v>0.3177031978609165</c:v>
                </c:pt>
                <c:pt idx="13">
                  <c:v>0.32219704434790253</c:v>
                </c:pt>
                <c:pt idx="14">
                  <c:v>0.3624087011333893</c:v>
                </c:pt>
                <c:pt idx="15">
                  <c:v>0.36527507018620387</c:v>
                </c:pt>
                <c:pt idx="16">
                  <c:v>0.37086265589123707</c:v>
                </c:pt>
                <c:pt idx="17">
                  <c:v>0.35063663177677429</c:v>
                </c:pt>
                <c:pt idx="18">
                  <c:v>0.36215313720122244</c:v>
                </c:pt>
                <c:pt idx="19">
                  <c:v>0.33812257398327222</c:v>
                </c:pt>
                <c:pt idx="20">
                  <c:v>0.33719131581998901</c:v>
                </c:pt>
                <c:pt idx="21">
                  <c:v>0.36747822479838599</c:v>
                </c:pt>
                <c:pt idx="22">
                  <c:v>0.33636705978411974</c:v>
                </c:pt>
                <c:pt idx="23">
                  <c:v>0.27845940255284862</c:v>
                </c:pt>
                <c:pt idx="24">
                  <c:v>0.29747353689946254</c:v>
                </c:pt>
                <c:pt idx="25">
                  <c:v>0.31541754078964374</c:v>
                </c:pt>
                <c:pt idx="26">
                  <c:v>0.40351052345860816</c:v>
                </c:pt>
                <c:pt idx="27">
                  <c:v>0.34753799928578172</c:v>
                </c:pt>
                <c:pt idx="28">
                  <c:v>0.3454567169674046</c:v>
                </c:pt>
                <c:pt idx="29">
                  <c:v>0.3624181405758985</c:v>
                </c:pt>
                <c:pt idx="30">
                  <c:v>0.32076710594843327</c:v>
                </c:pt>
                <c:pt idx="31">
                  <c:v>0.31108561578977706</c:v>
                </c:pt>
                <c:pt idx="32">
                  <c:v>0.34188861922010388</c:v>
                </c:pt>
                <c:pt idx="33">
                  <c:v>0.33516543869723542</c:v>
                </c:pt>
                <c:pt idx="34">
                  <c:v>0.29109990632970528</c:v>
                </c:pt>
                <c:pt idx="35">
                  <c:v>0.33994239802255283</c:v>
                </c:pt>
                <c:pt idx="36">
                  <c:v>0.31070772933768587</c:v>
                </c:pt>
                <c:pt idx="37">
                  <c:v>0.33866642342424519</c:v>
                </c:pt>
                <c:pt idx="38">
                  <c:v>0.27632508308488413</c:v>
                </c:pt>
                <c:pt idx="39">
                  <c:v>0.33884282189697074</c:v>
                </c:pt>
                <c:pt idx="40">
                  <c:v>0.35945971095123586</c:v>
                </c:pt>
                <c:pt idx="41">
                  <c:v>0.3585153893254987</c:v>
                </c:pt>
                <c:pt idx="42">
                  <c:v>0.45971098079128903</c:v>
                </c:pt>
                <c:pt idx="43">
                  <c:v>0.35303363886266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E1C-445E-9D0A-AF57972C8B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53265391"/>
        <c:axId val="1112285439"/>
      </c:lineChart>
      <c:catAx>
        <c:axId val="11551591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637018655"/>
        <c:crosses val="autoZero"/>
        <c:auto val="1"/>
        <c:lblAlgn val="ctr"/>
        <c:lblOffset val="100"/>
        <c:noMultiLvlLbl val="0"/>
      </c:catAx>
      <c:valAx>
        <c:axId val="6370186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€&quot;\ 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155159183"/>
        <c:crosses val="autoZero"/>
        <c:crossBetween val="between"/>
      </c:valAx>
      <c:valAx>
        <c:axId val="1112285439"/>
        <c:scaling>
          <c:orientation val="minMax"/>
        </c:scaling>
        <c:delete val="0"/>
        <c:axPos val="r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L"/>
          </a:p>
        </c:txPr>
        <c:crossAx val="1353265391"/>
        <c:crosses val="max"/>
        <c:crossBetween val="between"/>
      </c:valAx>
      <c:catAx>
        <c:axId val="135326539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1228543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92508503701611E-2"/>
          <c:y val="4.3186234308570846E-2"/>
          <c:w val="0.77905099867000926"/>
          <c:h val="0.782382611157542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TD okt 2018</c:v>
                </c:pt>
              </c:strCache>
            </c:strRef>
          </c:tx>
          <c:spPr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126-455C-A4D0-523DB620FC6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CD's</c:v>
                </c:pt>
                <c:pt idx="1">
                  <c:v>Vinyl</c:v>
                </c:pt>
                <c:pt idx="2">
                  <c:v>Download albums</c:v>
                </c:pt>
                <c:pt idx="3">
                  <c:v>Download tracks</c:v>
                </c:pt>
                <c:pt idx="4">
                  <c:v>Streams *</c:v>
                </c:pt>
                <c:pt idx="5">
                  <c:v>DVD/Blu-ray music</c:v>
                </c:pt>
              </c:strCache>
            </c:strRef>
          </c:cat>
          <c:val>
            <c:numRef>
              <c:f>Sheet1!$B$2:$B$7</c:f>
              <c:numCache>
                <c:formatCode>0.0%</c:formatCode>
                <c:ptCount val="6"/>
                <c:pt idx="0">
                  <c:v>0.35799999999999998</c:v>
                </c:pt>
                <c:pt idx="1">
                  <c:v>0.33400000000000002</c:v>
                </c:pt>
                <c:pt idx="2">
                  <c:v>0.313</c:v>
                </c:pt>
                <c:pt idx="3">
                  <c:v>0.23400000000000001</c:v>
                </c:pt>
                <c:pt idx="4">
                  <c:v>0.21</c:v>
                </c:pt>
                <c:pt idx="5">
                  <c:v>0.28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26-455C-A4D0-523DB620FC6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YTD okt 2019</c:v>
                </c:pt>
              </c:strCache>
            </c:strRef>
          </c:tx>
          <c:spPr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CD's</c:v>
                </c:pt>
                <c:pt idx="1">
                  <c:v>Vinyl</c:v>
                </c:pt>
                <c:pt idx="2">
                  <c:v>Download albums</c:v>
                </c:pt>
                <c:pt idx="3">
                  <c:v>Download tracks</c:v>
                </c:pt>
                <c:pt idx="4">
                  <c:v>Streams *</c:v>
                </c:pt>
                <c:pt idx="5">
                  <c:v>DVD/Blu-ray music</c:v>
                </c:pt>
              </c:strCache>
            </c:strRef>
          </c:cat>
          <c:val>
            <c:numRef>
              <c:f>Sheet1!$C$2:$C$7</c:f>
              <c:numCache>
                <c:formatCode>0.0%</c:formatCode>
                <c:ptCount val="6"/>
                <c:pt idx="0">
                  <c:v>0.35699999999999998</c:v>
                </c:pt>
                <c:pt idx="1">
                  <c:v>0.30299999999999999</c:v>
                </c:pt>
                <c:pt idx="2">
                  <c:v>0.28899999999999998</c:v>
                </c:pt>
                <c:pt idx="3">
                  <c:v>0.24299999999999999</c:v>
                </c:pt>
                <c:pt idx="4">
                  <c:v>0.23599999999999999</c:v>
                </c:pt>
                <c:pt idx="5">
                  <c:v>0.2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126-455C-A4D0-523DB620FC6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10"/>
        <c:axId val="472806104"/>
        <c:axId val="472807280"/>
      </c:barChart>
      <c:catAx>
        <c:axId val="472806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900"/>
            </a:pPr>
            <a:endParaRPr lang="en-NL"/>
          </a:p>
        </c:txPr>
        <c:crossAx val="472807280"/>
        <c:crosses val="autoZero"/>
        <c:auto val="1"/>
        <c:lblAlgn val="ctr"/>
        <c:lblOffset val="100"/>
        <c:noMultiLvlLbl val="0"/>
      </c:catAx>
      <c:valAx>
        <c:axId val="472807280"/>
        <c:scaling>
          <c:orientation val="minMax"/>
          <c:max val="0.5"/>
          <c:min val="0"/>
        </c:scaling>
        <c:delete val="0"/>
        <c:axPos val="l"/>
        <c:majorGridlines>
          <c:spPr>
            <a:ln w="9525">
              <a:solidFill>
                <a:schemeClr val="bg2">
                  <a:lumMod val="40000"/>
                  <a:lumOff val="60000"/>
                </a:schemeClr>
              </a:solidFill>
            </a:ln>
          </c:spPr>
        </c:majorGridlines>
        <c:numFmt formatCode="0.0%" sourceLinked="1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/>
            </a:pPr>
            <a:endParaRPr lang="en-NL"/>
          </a:p>
        </c:txPr>
        <c:crossAx val="472806104"/>
        <c:crosses val="autoZero"/>
        <c:crossBetween val="between"/>
        <c:majorUnit val="0.1"/>
      </c:valAx>
    </c:plotArea>
    <c:legend>
      <c:legendPos val="b"/>
      <c:overlay val="0"/>
      <c:txPr>
        <a:bodyPr/>
        <a:lstStyle/>
        <a:p>
          <a:pPr>
            <a:defRPr sz="900"/>
          </a:pPr>
          <a:endParaRPr lang="en-NL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NL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92508503701611E-2"/>
          <c:y val="4.3186234308570846E-2"/>
          <c:w val="0.77905099867000926"/>
          <c:h val="0.782382611157542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YTD okt. ' 18</c:v>
                </c:pt>
              </c:strCache>
            </c:strRef>
          </c:tx>
          <c:spPr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126-455C-A4D0-523DB620FC6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F$1</c:f>
              <c:strCache>
                <c:ptCount val="5"/>
                <c:pt idx="0">
                  <c:v>Overall</c:v>
                </c:pt>
                <c:pt idx="1">
                  <c:v> </c:v>
                </c:pt>
                <c:pt idx="2">
                  <c:v>Top 100</c:v>
                </c:pt>
                <c:pt idx="3">
                  <c:v>Top 101 - 1,000</c:v>
                </c:pt>
                <c:pt idx="4">
                  <c:v>Tail 1,001 + &gt;</c:v>
                </c:pt>
              </c:strCache>
            </c:strRef>
          </c:cat>
          <c:val>
            <c:numRef>
              <c:f>Sheet1!$B$2:$F$2</c:f>
              <c:numCache>
                <c:formatCode>General</c:formatCode>
                <c:ptCount val="5"/>
                <c:pt idx="0" formatCode="0.0%">
                  <c:v>0.35799999999999998</c:v>
                </c:pt>
                <c:pt idx="2" formatCode="0.0%">
                  <c:v>0.4</c:v>
                </c:pt>
                <c:pt idx="3" formatCode="0.0%">
                  <c:v>0.30499999999999999</c:v>
                </c:pt>
                <c:pt idx="4" formatCode="0.0%">
                  <c:v>0.345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26-455C-A4D0-523DB620FC62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YTD okt. ' 19</c:v>
                </c:pt>
              </c:strCache>
            </c:strRef>
          </c:tx>
          <c:spPr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F$1</c:f>
              <c:strCache>
                <c:ptCount val="5"/>
                <c:pt idx="0">
                  <c:v>Overall</c:v>
                </c:pt>
                <c:pt idx="1">
                  <c:v> </c:v>
                </c:pt>
                <c:pt idx="2">
                  <c:v>Top 100</c:v>
                </c:pt>
                <c:pt idx="3">
                  <c:v>Top 101 - 1,000</c:v>
                </c:pt>
                <c:pt idx="4">
                  <c:v>Tail 1,001 + &gt;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 formatCode="0.0%">
                  <c:v>0.35699999999999998</c:v>
                </c:pt>
                <c:pt idx="2" formatCode="0.0%">
                  <c:v>0.32</c:v>
                </c:pt>
                <c:pt idx="3" formatCode="0.0%">
                  <c:v>0.36499999999999999</c:v>
                </c:pt>
                <c:pt idx="4" formatCode="0.0%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126-455C-A4D0-523DB620FC6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10"/>
        <c:axId val="472806104"/>
        <c:axId val="472807280"/>
      </c:barChart>
      <c:catAx>
        <c:axId val="472806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900"/>
            </a:pPr>
            <a:endParaRPr lang="en-NL"/>
          </a:p>
        </c:txPr>
        <c:crossAx val="472807280"/>
        <c:crosses val="autoZero"/>
        <c:auto val="1"/>
        <c:lblAlgn val="ctr"/>
        <c:lblOffset val="100"/>
        <c:noMultiLvlLbl val="0"/>
      </c:catAx>
      <c:valAx>
        <c:axId val="472807280"/>
        <c:scaling>
          <c:orientation val="minMax"/>
          <c:max val="0.5"/>
          <c:min val="0"/>
        </c:scaling>
        <c:delete val="0"/>
        <c:axPos val="l"/>
        <c:majorGridlines>
          <c:spPr>
            <a:ln w="9525">
              <a:solidFill>
                <a:schemeClr val="bg2">
                  <a:lumMod val="40000"/>
                  <a:lumOff val="60000"/>
                </a:schemeClr>
              </a:solidFill>
            </a:ln>
          </c:spPr>
        </c:majorGridlines>
        <c:numFmt formatCode="0.0%" sourceLinked="1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/>
            </a:pPr>
            <a:endParaRPr lang="en-NL"/>
          </a:p>
        </c:txPr>
        <c:crossAx val="472806104"/>
        <c:crosses val="autoZero"/>
        <c:crossBetween val="between"/>
        <c:majorUnit val="0.1"/>
      </c:valAx>
    </c:plotArea>
    <c:legend>
      <c:legendPos val="b"/>
      <c:overlay val="0"/>
      <c:txPr>
        <a:bodyPr/>
        <a:lstStyle/>
        <a:p>
          <a:pPr>
            <a:defRPr sz="900"/>
          </a:pPr>
          <a:endParaRPr lang="en-NL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NL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92508503701611E-2"/>
          <c:y val="4.3186234308570846E-2"/>
          <c:w val="0.77905099867000926"/>
          <c:h val="0.782382611157542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YTD okt. ' 18</c:v>
                </c:pt>
              </c:strCache>
            </c:strRef>
          </c:tx>
          <c:spPr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126-455C-A4D0-523DB620FC6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F$1</c:f>
              <c:strCache>
                <c:ptCount val="5"/>
                <c:pt idx="0">
                  <c:v>Overall</c:v>
                </c:pt>
                <c:pt idx="1">
                  <c:v> </c:v>
                </c:pt>
                <c:pt idx="2">
                  <c:v>Top 100</c:v>
                </c:pt>
                <c:pt idx="3">
                  <c:v>Top 101 - 1,000</c:v>
                </c:pt>
                <c:pt idx="4">
                  <c:v>Tail 1,001 - 10,000</c:v>
                </c:pt>
              </c:strCache>
            </c:strRef>
          </c:cat>
          <c:val>
            <c:numRef>
              <c:f>Sheet1!$B$2:$F$2</c:f>
              <c:numCache>
                <c:formatCode>General</c:formatCode>
                <c:ptCount val="5"/>
                <c:pt idx="0" formatCode="0.0%">
                  <c:v>0.21</c:v>
                </c:pt>
                <c:pt idx="2" formatCode="0.0%">
                  <c:v>9.0999999999999998E-2</c:v>
                </c:pt>
                <c:pt idx="3" formatCode="0.0%">
                  <c:v>0.153</c:v>
                </c:pt>
                <c:pt idx="4" formatCode="0.0%">
                  <c:v>0.274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26-455C-A4D0-523DB620FC62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YTD okt. ' 19</c:v>
                </c:pt>
              </c:strCache>
            </c:strRef>
          </c:tx>
          <c:spPr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N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F$1</c:f>
              <c:strCache>
                <c:ptCount val="5"/>
                <c:pt idx="0">
                  <c:v>Overall</c:v>
                </c:pt>
                <c:pt idx="1">
                  <c:v> </c:v>
                </c:pt>
                <c:pt idx="2">
                  <c:v>Top 100</c:v>
                </c:pt>
                <c:pt idx="3">
                  <c:v>Top 101 - 1,000</c:v>
                </c:pt>
                <c:pt idx="4">
                  <c:v>Tail 1,001 - 10,000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 formatCode="0.0%">
                  <c:v>0.23599999999999999</c:v>
                </c:pt>
                <c:pt idx="2" formatCode="0.0%">
                  <c:v>0.19800000000000001</c:v>
                </c:pt>
                <c:pt idx="3" formatCode="0.0%">
                  <c:v>0.19600000000000001</c:v>
                </c:pt>
                <c:pt idx="4" formatCode="0.0%">
                  <c:v>0.26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126-455C-A4D0-523DB620FC6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10"/>
        <c:axId val="472806104"/>
        <c:axId val="472807280"/>
      </c:barChart>
      <c:catAx>
        <c:axId val="472806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900"/>
            </a:pPr>
            <a:endParaRPr lang="en-NL"/>
          </a:p>
        </c:txPr>
        <c:crossAx val="472807280"/>
        <c:crosses val="autoZero"/>
        <c:auto val="1"/>
        <c:lblAlgn val="ctr"/>
        <c:lblOffset val="100"/>
        <c:noMultiLvlLbl val="0"/>
      </c:catAx>
      <c:valAx>
        <c:axId val="472807280"/>
        <c:scaling>
          <c:orientation val="minMax"/>
          <c:max val="0.30000000000000004"/>
          <c:min val="0"/>
        </c:scaling>
        <c:delete val="0"/>
        <c:axPos val="l"/>
        <c:majorGridlines>
          <c:spPr>
            <a:ln w="9525">
              <a:solidFill>
                <a:schemeClr val="bg2">
                  <a:lumMod val="40000"/>
                  <a:lumOff val="60000"/>
                </a:schemeClr>
              </a:solidFill>
            </a:ln>
          </c:spPr>
        </c:majorGridlines>
        <c:numFmt formatCode="0.0%" sourceLinked="1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/>
            </a:pPr>
            <a:endParaRPr lang="en-NL"/>
          </a:p>
        </c:txPr>
        <c:crossAx val="472806104"/>
        <c:crosses val="autoZero"/>
        <c:crossBetween val="between"/>
        <c:majorUnit val="5.000000000000001E-2"/>
      </c:valAx>
    </c:plotArea>
    <c:legend>
      <c:legendPos val="b"/>
      <c:overlay val="0"/>
      <c:txPr>
        <a:bodyPr/>
        <a:lstStyle/>
        <a:p>
          <a:pPr>
            <a:defRPr sz="900"/>
          </a:pPr>
          <a:endParaRPr lang="en-NL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NL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29217209801101"/>
          <c:y val="2.30918850938465E-2"/>
          <c:w val="0.74252887378184695"/>
          <c:h val="0.8443979165929269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ln w="9525">
              <a:solidFill>
                <a:schemeClr val="bg1"/>
              </a:solidFill>
            </a:ln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C968-47F1-935B-BD35C172B44B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C968-47F1-935B-BD35C172B44B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C968-47F1-935B-BD35C172B44B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C968-47F1-935B-BD35C172B44B}"/>
              </c:ext>
            </c:extLst>
          </c:dPt>
          <c:dPt>
            <c:idx val="4"/>
            <c:bubble3D val="0"/>
            <c:spPr>
              <a:solidFill>
                <a:schemeClr val="bg2"/>
              </a:solidFill>
              <a:ln w="952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968-47F1-935B-BD35C172B44B}"/>
              </c:ext>
            </c:extLst>
          </c:dPt>
          <c:dLbls>
            <c:numFmt formatCode="General" sourceLinked="0"/>
            <c:spPr>
              <a:noFill/>
              <a:ln w="24851">
                <a:noFill/>
              </a:ln>
            </c:spPr>
            <c:txPr>
              <a:bodyPr/>
              <a:lstStyle/>
              <a:p>
                <a:pPr>
                  <a:defRPr lang="en-US" sz="800" b="1" noProof="0">
                    <a:solidFill>
                      <a:schemeClr val="bg1"/>
                    </a:solidFill>
                  </a:defRPr>
                </a:pPr>
                <a:endParaRPr lang="en-NL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Internationaal</c:v>
                </c:pt>
                <c:pt idx="1">
                  <c:v>Nationaal</c:v>
                </c:pt>
                <c:pt idx="2">
                  <c:v>Compilatie</c:v>
                </c:pt>
                <c:pt idx="3">
                  <c:v>Klassiek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55000000000000004</c:v>
                </c:pt>
                <c:pt idx="1">
                  <c:v>0.23699999999999999</c:v>
                </c:pt>
                <c:pt idx="2">
                  <c:v>0.158</c:v>
                </c:pt>
                <c:pt idx="3">
                  <c:v>5.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968-47F1-935B-BD35C172B44B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0"/>
        </c:dLbls>
        <c:firstSliceAng val="0"/>
        <c:holeSize val="64"/>
      </c:doughnutChart>
      <c:spPr>
        <a:noFill/>
        <a:ln w="24851">
          <a:noFill/>
        </a:ln>
      </c:spPr>
    </c:plotArea>
    <c:legend>
      <c:legendPos val="b"/>
      <c:overlay val="0"/>
      <c:txPr>
        <a:bodyPr/>
        <a:lstStyle/>
        <a:p>
          <a:pPr>
            <a:defRPr sz="800"/>
          </a:pPr>
          <a:endParaRPr lang="en-NL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200" b="0" i="0" u="none" strike="noStrike" baseline="0">
          <a:solidFill>
            <a:schemeClr val="tx1"/>
          </a:solidFill>
          <a:latin typeface="+mn-lt"/>
          <a:ea typeface="Arial"/>
          <a:cs typeface="Arial"/>
        </a:defRPr>
      </a:pPr>
      <a:endParaRPr lang="en-NL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29217209801101"/>
          <c:y val="2.30918850938465E-2"/>
          <c:w val="0.74252887378184695"/>
          <c:h val="0.8443979165929269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ln w="9525">
              <a:solidFill>
                <a:schemeClr val="bg1"/>
              </a:solidFill>
            </a:ln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34AF-4481-A8F6-1B2757B2CA0C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34AF-4481-A8F6-1B2757B2CA0C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34AF-4481-A8F6-1B2757B2CA0C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34AF-4481-A8F6-1B2757B2CA0C}"/>
              </c:ext>
            </c:extLst>
          </c:dPt>
          <c:dPt>
            <c:idx val="4"/>
            <c:bubble3D val="0"/>
            <c:spPr>
              <a:solidFill>
                <a:schemeClr val="bg2"/>
              </a:solidFill>
              <a:ln w="952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4AF-4481-A8F6-1B2757B2CA0C}"/>
              </c:ext>
            </c:extLst>
          </c:dPt>
          <c:dLbls>
            <c:numFmt formatCode="General" sourceLinked="0"/>
            <c:spPr>
              <a:noFill/>
              <a:ln w="24851">
                <a:noFill/>
              </a:ln>
            </c:spPr>
            <c:txPr>
              <a:bodyPr/>
              <a:lstStyle/>
              <a:p>
                <a:pPr>
                  <a:defRPr lang="en-US" sz="800" b="1" noProof="0">
                    <a:solidFill>
                      <a:schemeClr val="bg1"/>
                    </a:solidFill>
                  </a:defRPr>
                </a:pPr>
                <a:endParaRPr lang="en-NL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Internationaal</c:v>
                </c:pt>
                <c:pt idx="1">
                  <c:v>Nationaal</c:v>
                </c:pt>
                <c:pt idx="2">
                  <c:v>Compilatie</c:v>
                </c:pt>
                <c:pt idx="3">
                  <c:v>Klassiek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61899999999999999</c:v>
                </c:pt>
                <c:pt idx="1">
                  <c:v>0.186</c:v>
                </c:pt>
                <c:pt idx="2">
                  <c:v>0.14599999999999999</c:v>
                </c:pt>
                <c:pt idx="3">
                  <c:v>4.90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4AF-4481-A8F6-1B2757B2CA0C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0"/>
        </c:dLbls>
        <c:firstSliceAng val="0"/>
        <c:holeSize val="64"/>
      </c:doughnutChart>
      <c:spPr>
        <a:noFill/>
        <a:ln w="24851">
          <a:noFill/>
        </a:ln>
      </c:spPr>
    </c:plotArea>
    <c:legend>
      <c:legendPos val="b"/>
      <c:overlay val="0"/>
      <c:txPr>
        <a:bodyPr/>
        <a:lstStyle/>
        <a:p>
          <a:pPr>
            <a:defRPr sz="800"/>
          </a:pPr>
          <a:endParaRPr lang="en-NL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200" b="0" i="0" u="none" strike="noStrike" baseline="0">
          <a:solidFill>
            <a:schemeClr val="tx1"/>
          </a:solidFill>
          <a:latin typeface="+mn-lt"/>
          <a:ea typeface="Arial"/>
          <a:cs typeface="Arial"/>
        </a:defRPr>
      </a:pPr>
      <a:endParaRPr lang="en-NL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A3B1F8-6D62-4D30-9D58-5CC5D51CE00D}" type="datetimeFigureOut">
              <a:rPr lang="en-US" smtClean="0"/>
              <a:t>11/1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FA928F-0A46-4B66-9905-FB1D800EB3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31216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045A0D1-07B4-46FF-9F04-18BB5AAA8479}" type="datetimeFigureOut">
              <a:rPr lang="en-US" smtClean="0"/>
              <a:pPr/>
              <a:t>11/1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7A99B2F4-8F99-4FDD-A50D-433216698E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8501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0000" indent="-180000" algn="l" defTabSz="914400" rtl="0" eaLnBrk="1" latinLnBrk="0" hangingPunct="1">
      <a:lnSpc>
        <a:spcPct val="125000"/>
      </a:lnSpc>
      <a:buClr>
        <a:schemeClr val="tx2"/>
      </a:buClr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540000" indent="-180000" algn="l" defTabSz="914400" rtl="0" eaLnBrk="1" latinLnBrk="0" hangingPunct="1">
      <a:lnSpc>
        <a:spcPct val="125000"/>
      </a:lnSpc>
      <a:buClr>
        <a:schemeClr val="tx2"/>
      </a:buClr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900000" indent="-180000" algn="l" defTabSz="914400" rtl="0" eaLnBrk="1" latinLnBrk="0" hangingPunct="1">
      <a:lnSpc>
        <a:spcPct val="125000"/>
      </a:lnSpc>
      <a:buClr>
        <a:schemeClr val="tx2"/>
      </a:buClr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260000" indent="-180000" algn="l" defTabSz="914400" rtl="0" eaLnBrk="1" latinLnBrk="0" hangingPunct="1">
      <a:lnSpc>
        <a:spcPct val="125000"/>
      </a:lnSpc>
      <a:buClr>
        <a:schemeClr val="tx2"/>
      </a:buClr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620000" indent="-180000" algn="l" defTabSz="914400" rtl="0" eaLnBrk="1" latinLnBrk="0" hangingPunct="1">
      <a:lnSpc>
        <a:spcPct val="125000"/>
      </a:lnSpc>
      <a:buClr>
        <a:schemeClr val="tx2"/>
      </a:buClr>
      <a:buFont typeface="Wingdings" panose="05000000000000000000" pitchFamily="2" charset="2"/>
      <a:buChar char="§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800100" y="760413"/>
            <a:ext cx="5715000" cy="3214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4142776" y="9119068"/>
            <a:ext cx="3170717" cy="480597"/>
          </a:xfrm>
          <a:prstGeom prst="rect">
            <a:avLst/>
          </a:prstGeom>
        </p:spPr>
        <p:txBody>
          <a:bodyPr lIns="90836" tIns="45418" rIns="90836" bIns="45418"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latin typeface="Calibri"/>
              </a:rPr>
              <a:t>Page </a:t>
            </a:r>
            <a:fld id="{12150BCA-22CA-4AF8-9D88-CCDC98FCE1C2}" type="slidenum">
              <a:rPr lang="en-US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3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582461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1431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8088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Nog</a:t>
            </a:r>
            <a:r>
              <a:rPr lang="en-US" dirty="0"/>
              <a:t> </a:t>
            </a:r>
            <a:r>
              <a:rPr lang="en-US" dirty="0" err="1"/>
              <a:t>geen</a:t>
            </a:r>
            <a:r>
              <a:rPr lang="en-US" dirty="0"/>
              <a:t> 0,5% van </a:t>
            </a:r>
            <a:r>
              <a:rPr lang="en-US" dirty="0" err="1"/>
              <a:t>alle</a:t>
            </a:r>
            <a:r>
              <a:rPr lang="en-US" dirty="0"/>
              <a:t> band/artists </a:t>
            </a:r>
            <a:r>
              <a:rPr lang="en-US" dirty="0" err="1"/>
              <a:t>doet</a:t>
            </a:r>
            <a:r>
              <a:rPr lang="en-US" dirty="0"/>
              <a:t> </a:t>
            </a:r>
            <a:r>
              <a:rPr lang="en-US" dirty="0" err="1"/>
              <a:t>dus</a:t>
            </a:r>
            <a:r>
              <a:rPr lang="en-US" dirty="0"/>
              <a:t> 19% van de </a:t>
            </a:r>
            <a:r>
              <a:rPr lang="en-US" dirty="0" err="1"/>
              <a:t>totale</a:t>
            </a:r>
            <a:r>
              <a:rPr lang="en-US" dirty="0"/>
              <a:t> LP </a:t>
            </a:r>
            <a:r>
              <a:rPr lang="en-US" dirty="0" err="1"/>
              <a:t>omzet</a:t>
            </a:r>
            <a:r>
              <a:rPr lang="en-US" dirty="0"/>
              <a:t>. Rock </a:t>
            </a:r>
            <a:r>
              <a:rPr lang="en-US" dirty="0" err="1"/>
              <a:t>georienteerd</a:t>
            </a:r>
            <a:r>
              <a:rPr lang="en-US" dirty="0"/>
              <a:t>. </a:t>
            </a:r>
            <a:r>
              <a:rPr lang="en-US" dirty="0" err="1"/>
              <a:t>Voor</a:t>
            </a:r>
            <a:r>
              <a:rPr lang="en-US" dirty="0"/>
              <a:t> CD </a:t>
            </a:r>
            <a:r>
              <a:rPr lang="en-US" dirty="0" err="1"/>
              <a:t>ligt</a:t>
            </a:r>
            <a:r>
              <a:rPr lang="en-US" dirty="0"/>
              <a:t> de top 15 op 16%, </a:t>
            </a:r>
            <a:r>
              <a:rPr lang="en-US" dirty="0" err="1"/>
              <a:t>wel</a:t>
            </a:r>
            <a:r>
              <a:rPr lang="en-US" dirty="0"/>
              <a:t> </a:t>
            </a:r>
            <a:r>
              <a:rPr lang="en-US" dirty="0" err="1"/>
              <a:t>andere</a:t>
            </a:r>
            <a:r>
              <a:rPr lang="en-US" dirty="0"/>
              <a:t> bands. De top 25 bands </a:t>
            </a:r>
            <a:r>
              <a:rPr lang="en-US" dirty="0" err="1"/>
              <a:t>doet</a:t>
            </a:r>
            <a:r>
              <a:rPr lang="en-US" dirty="0"/>
              <a:t> </a:t>
            </a:r>
            <a:r>
              <a:rPr lang="en-US" dirty="0" err="1"/>
              <a:t>binnen</a:t>
            </a:r>
            <a:r>
              <a:rPr lang="en-US" dirty="0"/>
              <a:t> LP 25% van de </a:t>
            </a:r>
            <a:r>
              <a:rPr lang="en-US" dirty="0" err="1"/>
              <a:t>totale</a:t>
            </a:r>
            <a:r>
              <a:rPr lang="en-US" dirty="0"/>
              <a:t> LP </a:t>
            </a:r>
            <a:r>
              <a:rPr lang="en-US" dirty="0" err="1"/>
              <a:t>omzet</a:t>
            </a:r>
            <a:r>
              <a:rPr lang="en-US" dirty="0"/>
              <a:t>.</a:t>
            </a:r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99B2F4-8F99-4FDD-A50D-433216698ED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0089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56735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01203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0678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90408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0163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">
            <a:extLst>
              <a:ext uri="{FF2B5EF4-FFF2-40B4-BE49-F238E27FC236}">
                <a16:creationId xmlns:a16="http://schemas.microsoft.com/office/drawing/2014/main" id="{4F153214-AFE7-D540-937D-96E89FDAD54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37" t="1" r="7487" b="9924"/>
          <a:stretch/>
        </p:blipFill>
        <p:spPr>
          <a:xfrm>
            <a:off x="2620212" y="-8808"/>
            <a:ext cx="9697299" cy="6866807"/>
          </a:xfrm>
          <a:prstGeom prst="rect">
            <a:avLst/>
          </a:prstGeom>
        </p:spPr>
      </p:pic>
      <p:sp>
        <p:nvSpPr>
          <p:cNvPr id="29" name="shpPicture"/>
          <p:cNvSpPr/>
          <p:nvPr/>
        </p:nvSpPr>
        <p:spPr>
          <a:xfrm>
            <a:off x="0" y="0"/>
            <a:ext cx="4956718" cy="6858000"/>
          </a:xfrm>
          <a:custGeom>
            <a:avLst/>
            <a:gdLst>
              <a:gd name="connsiteX0" fmla="*/ 0 w 4956718"/>
              <a:gd name="connsiteY0" fmla="*/ 0 h 6858000"/>
              <a:gd name="connsiteX1" fmla="*/ 3707268 w 4956718"/>
              <a:gd name="connsiteY1" fmla="*/ 0 h 6858000"/>
              <a:gd name="connsiteX2" fmla="*/ 4956718 w 4956718"/>
              <a:gd name="connsiteY2" fmla="*/ 4163677 h 6858000"/>
              <a:gd name="connsiteX3" fmla="*/ 3376226 w 4956718"/>
              <a:gd name="connsiteY3" fmla="*/ 6858000 h 6858000"/>
              <a:gd name="connsiteX4" fmla="*/ 0 w 495671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6718" h="6858000">
                <a:moveTo>
                  <a:pt x="0" y="0"/>
                </a:moveTo>
                <a:lnTo>
                  <a:pt x="3707268" y="0"/>
                </a:lnTo>
                <a:lnTo>
                  <a:pt x="4956718" y="4163677"/>
                </a:lnTo>
                <a:lnTo>
                  <a:pt x="337622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25000"/>
              </a:lnSpc>
            </a:pPr>
            <a:endParaRPr lang="en-US" sz="1600" dirty="0"/>
          </a:p>
        </p:txBody>
      </p:sp>
      <p:grpSp>
        <p:nvGrpSpPr>
          <p:cNvPr id="14" name="logo">
            <a:extLst>
              <a:ext uri="{FF2B5EF4-FFF2-40B4-BE49-F238E27FC236}">
                <a16:creationId xmlns:a16="http://schemas.microsoft.com/office/drawing/2014/main" id="{18C26D95-70F8-8A4D-9F18-DCCB92522AF8}"/>
              </a:ext>
            </a:extLst>
          </p:cNvPr>
          <p:cNvGrpSpPr/>
          <p:nvPr/>
        </p:nvGrpSpPr>
        <p:grpSpPr bwMode="gray">
          <a:xfrm>
            <a:off x="417363" y="407485"/>
            <a:ext cx="1518585" cy="646507"/>
            <a:chOff x="334963" y="296652"/>
            <a:chExt cx="1268411" cy="540000"/>
          </a:xfrm>
        </p:grpSpPr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8737AD0-E375-E445-97E6-CD2E2DF6062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82662" y="360462"/>
              <a:ext cx="620712" cy="431800"/>
            </a:xfrm>
            <a:custGeom>
              <a:avLst/>
              <a:gdLst>
                <a:gd name="T0" fmla="*/ 19 w 1809"/>
                <a:gd name="T1" fmla="*/ 97 h 1253"/>
                <a:gd name="T2" fmla="*/ 165 w 1809"/>
                <a:gd name="T3" fmla="*/ 41 h 1253"/>
                <a:gd name="T4" fmla="*/ 211 w 1809"/>
                <a:gd name="T5" fmla="*/ 224 h 1253"/>
                <a:gd name="T6" fmla="*/ 248 w 1809"/>
                <a:gd name="T7" fmla="*/ 155 h 1253"/>
                <a:gd name="T8" fmla="*/ 931 w 1809"/>
                <a:gd name="T9" fmla="*/ 995 h 1253"/>
                <a:gd name="T10" fmla="*/ 858 w 1809"/>
                <a:gd name="T11" fmla="*/ 1115 h 1253"/>
                <a:gd name="T12" fmla="*/ 749 w 1809"/>
                <a:gd name="T13" fmla="*/ 1117 h 1253"/>
                <a:gd name="T14" fmla="*/ 681 w 1809"/>
                <a:gd name="T15" fmla="*/ 1055 h 1253"/>
                <a:gd name="T16" fmla="*/ 800 w 1809"/>
                <a:gd name="T17" fmla="*/ 1054 h 1253"/>
                <a:gd name="T18" fmla="*/ 884 w 1809"/>
                <a:gd name="T19" fmla="*/ 1181 h 1253"/>
                <a:gd name="T20" fmla="*/ 118 w 1809"/>
                <a:gd name="T21" fmla="*/ 1086 h 1253"/>
                <a:gd name="T22" fmla="*/ 147 w 1809"/>
                <a:gd name="T23" fmla="*/ 1026 h 1253"/>
                <a:gd name="T24" fmla="*/ 102 w 1809"/>
                <a:gd name="T25" fmla="*/ 1026 h 1253"/>
                <a:gd name="T26" fmla="*/ 639 w 1809"/>
                <a:gd name="T27" fmla="*/ 84 h 1253"/>
                <a:gd name="T28" fmla="*/ 763 w 1809"/>
                <a:gd name="T29" fmla="*/ 145 h 1253"/>
                <a:gd name="T30" fmla="*/ 863 w 1809"/>
                <a:gd name="T31" fmla="*/ 221 h 1253"/>
                <a:gd name="T32" fmla="*/ 834 w 1809"/>
                <a:gd name="T33" fmla="*/ 208 h 1253"/>
                <a:gd name="T34" fmla="*/ 719 w 1809"/>
                <a:gd name="T35" fmla="*/ 182 h 1253"/>
                <a:gd name="T36" fmla="*/ 507 w 1809"/>
                <a:gd name="T37" fmla="*/ 711 h 1253"/>
                <a:gd name="T38" fmla="*/ 614 w 1809"/>
                <a:gd name="T39" fmla="*/ 706 h 1253"/>
                <a:gd name="T40" fmla="*/ 736 w 1809"/>
                <a:gd name="T41" fmla="*/ 730 h 1253"/>
                <a:gd name="T42" fmla="*/ 607 w 1809"/>
                <a:gd name="T43" fmla="*/ 539 h 1253"/>
                <a:gd name="T44" fmla="*/ 1505 w 1809"/>
                <a:gd name="T45" fmla="*/ 1136 h 1253"/>
                <a:gd name="T46" fmla="*/ 1613 w 1809"/>
                <a:gd name="T47" fmla="*/ 1002 h 1253"/>
                <a:gd name="T48" fmla="*/ 1472 w 1809"/>
                <a:gd name="T49" fmla="*/ 1164 h 1253"/>
                <a:gd name="T50" fmla="*/ 1525 w 1809"/>
                <a:gd name="T51" fmla="*/ 1142 h 1253"/>
                <a:gd name="T52" fmla="*/ 1556 w 1809"/>
                <a:gd name="T53" fmla="*/ 1172 h 1253"/>
                <a:gd name="T54" fmla="*/ 1387 w 1809"/>
                <a:gd name="T55" fmla="*/ 910 h 1253"/>
                <a:gd name="T56" fmla="*/ 1261 w 1809"/>
                <a:gd name="T57" fmla="*/ 1157 h 1253"/>
                <a:gd name="T58" fmla="*/ 1413 w 1809"/>
                <a:gd name="T59" fmla="*/ 934 h 1253"/>
                <a:gd name="T60" fmla="*/ 1378 w 1809"/>
                <a:gd name="T61" fmla="*/ 1052 h 1253"/>
                <a:gd name="T62" fmla="*/ 488 w 1809"/>
                <a:gd name="T63" fmla="*/ 85 h 1253"/>
                <a:gd name="T64" fmla="*/ 509 w 1809"/>
                <a:gd name="T65" fmla="*/ 112 h 1253"/>
                <a:gd name="T66" fmla="*/ 548 w 1809"/>
                <a:gd name="T67" fmla="*/ 1187 h 1253"/>
                <a:gd name="T68" fmla="*/ 472 w 1809"/>
                <a:gd name="T69" fmla="*/ 1122 h 1253"/>
                <a:gd name="T70" fmla="*/ 558 w 1809"/>
                <a:gd name="T71" fmla="*/ 1157 h 1253"/>
                <a:gd name="T72" fmla="*/ 287 w 1809"/>
                <a:gd name="T73" fmla="*/ 654 h 1253"/>
                <a:gd name="T74" fmla="*/ 416 w 1809"/>
                <a:gd name="T75" fmla="*/ 684 h 1253"/>
                <a:gd name="T76" fmla="*/ 1106 w 1809"/>
                <a:gd name="T77" fmla="*/ 147 h 1253"/>
                <a:gd name="T78" fmla="*/ 1229 w 1809"/>
                <a:gd name="T79" fmla="*/ 258 h 1253"/>
                <a:gd name="T80" fmla="*/ 1106 w 1809"/>
                <a:gd name="T81" fmla="*/ 96 h 1253"/>
                <a:gd name="T82" fmla="*/ 1219 w 1809"/>
                <a:gd name="T83" fmla="*/ 1077 h 1253"/>
                <a:gd name="T84" fmla="*/ 1214 w 1809"/>
                <a:gd name="T85" fmla="*/ 1157 h 1253"/>
                <a:gd name="T86" fmla="*/ 1150 w 1809"/>
                <a:gd name="T87" fmla="*/ 1092 h 1253"/>
                <a:gd name="T88" fmla="*/ 1139 w 1809"/>
                <a:gd name="T89" fmla="*/ 1070 h 1253"/>
                <a:gd name="T90" fmla="*/ 1659 w 1809"/>
                <a:gd name="T91" fmla="*/ 1031 h 1253"/>
                <a:gd name="T92" fmla="*/ 1714 w 1809"/>
                <a:gd name="T93" fmla="*/ 1155 h 1253"/>
                <a:gd name="T94" fmla="*/ 1760 w 1809"/>
                <a:gd name="T95" fmla="*/ 1030 h 1253"/>
                <a:gd name="T96" fmla="*/ 111 w 1809"/>
                <a:gd name="T97" fmla="*/ 569 h 1253"/>
                <a:gd name="T98" fmla="*/ 109 w 1809"/>
                <a:gd name="T99" fmla="*/ 460 h 1253"/>
                <a:gd name="T100" fmla="*/ 32 w 1809"/>
                <a:gd name="T101" fmla="*/ 704 h 1253"/>
                <a:gd name="T102" fmla="*/ 310 w 1809"/>
                <a:gd name="T103" fmla="*/ 1058 h 1253"/>
                <a:gd name="T104" fmla="*/ 431 w 1809"/>
                <a:gd name="T105" fmla="*/ 1044 h 1253"/>
                <a:gd name="T106" fmla="*/ 278 w 1809"/>
                <a:gd name="T107" fmla="*/ 1165 h 1253"/>
                <a:gd name="T108" fmla="*/ 261 w 1809"/>
                <a:gd name="T109" fmla="*/ 540 h 1253"/>
                <a:gd name="T110" fmla="*/ 150 w 1809"/>
                <a:gd name="T111" fmla="*/ 635 h 1253"/>
                <a:gd name="T112" fmla="*/ 994 w 1809"/>
                <a:gd name="T113" fmla="*/ 1185 h 1253"/>
                <a:gd name="T114" fmla="*/ 331 w 1809"/>
                <a:gd name="T115" fmla="*/ 176 h 1253"/>
                <a:gd name="T116" fmla="*/ 333 w 1809"/>
                <a:gd name="T117" fmla="*/ 109 h 1253"/>
                <a:gd name="T118" fmla="*/ 946 w 1809"/>
                <a:gd name="T119" fmla="*/ 234 h 1253"/>
                <a:gd name="T120" fmla="*/ 1022 w 1809"/>
                <a:gd name="T121" fmla="*/ 113 h 1253"/>
                <a:gd name="T122" fmla="*/ 949 w 1809"/>
                <a:gd name="T123" fmla="*/ 65 h 1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09" h="1253">
                  <a:moveTo>
                    <a:pt x="248" y="198"/>
                  </a:moveTo>
                  <a:cubicBezTo>
                    <a:pt x="248" y="211"/>
                    <a:pt x="248" y="224"/>
                    <a:pt x="249" y="237"/>
                  </a:cubicBezTo>
                  <a:cubicBezTo>
                    <a:pt x="249" y="245"/>
                    <a:pt x="246" y="249"/>
                    <a:pt x="240" y="253"/>
                  </a:cubicBezTo>
                  <a:cubicBezTo>
                    <a:pt x="231" y="260"/>
                    <a:pt x="220" y="264"/>
                    <a:pt x="209" y="268"/>
                  </a:cubicBezTo>
                  <a:cubicBezTo>
                    <a:pt x="179" y="279"/>
                    <a:pt x="148" y="280"/>
                    <a:pt x="118" y="275"/>
                  </a:cubicBezTo>
                  <a:cubicBezTo>
                    <a:pt x="86" y="269"/>
                    <a:pt x="58" y="252"/>
                    <a:pt x="39" y="224"/>
                  </a:cubicBezTo>
                  <a:cubicBezTo>
                    <a:pt x="24" y="203"/>
                    <a:pt x="18" y="180"/>
                    <a:pt x="15" y="155"/>
                  </a:cubicBezTo>
                  <a:cubicBezTo>
                    <a:pt x="11" y="135"/>
                    <a:pt x="15" y="115"/>
                    <a:pt x="19" y="97"/>
                  </a:cubicBezTo>
                  <a:cubicBezTo>
                    <a:pt x="26" y="68"/>
                    <a:pt x="42" y="44"/>
                    <a:pt x="68" y="27"/>
                  </a:cubicBezTo>
                  <a:cubicBezTo>
                    <a:pt x="87" y="14"/>
                    <a:pt x="109" y="6"/>
                    <a:pt x="133" y="5"/>
                  </a:cubicBezTo>
                  <a:cubicBezTo>
                    <a:pt x="149" y="4"/>
                    <a:pt x="165" y="5"/>
                    <a:pt x="181" y="6"/>
                  </a:cubicBezTo>
                  <a:cubicBezTo>
                    <a:pt x="204" y="8"/>
                    <a:pt x="225" y="20"/>
                    <a:pt x="243" y="35"/>
                  </a:cubicBezTo>
                  <a:cubicBezTo>
                    <a:pt x="246" y="37"/>
                    <a:pt x="246" y="40"/>
                    <a:pt x="244" y="43"/>
                  </a:cubicBezTo>
                  <a:cubicBezTo>
                    <a:pt x="242" y="47"/>
                    <a:pt x="239" y="52"/>
                    <a:pt x="236" y="55"/>
                  </a:cubicBezTo>
                  <a:cubicBezTo>
                    <a:pt x="226" y="65"/>
                    <a:pt x="224" y="65"/>
                    <a:pt x="206" y="54"/>
                  </a:cubicBezTo>
                  <a:cubicBezTo>
                    <a:pt x="193" y="46"/>
                    <a:pt x="180" y="40"/>
                    <a:pt x="165" y="41"/>
                  </a:cubicBezTo>
                  <a:cubicBezTo>
                    <a:pt x="151" y="41"/>
                    <a:pt x="137" y="39"/>
                    <a:pt x="124" y="42"/>
                  </a:cubicBezTo>
                  <a:cubicBezTo>
                    <a:pt x="104" y="46"/>
                    <a:pt x="87" y="57"/>
                    <a:pt x="75" y="74"/>
                  </a:cubicBezTo>
                  <a:cubicBezTo>
                    <a:pt x="56" y="99"/>
                    <a:pt x="51" y="129"/>
                    <a:pt x="55" y="159"/>
                  </a:cubicBezTo>
                  <a:cubicBezTo>
                    <a:pt x="60" y="189"/>
                    <a:pt x="73" y="214"/>
                    <a:pt x="98" y="230"/>
                  </a:cubicBezTo>
                  <a:cubicBezTo>
                    <a:pt x="109" y="237"/>
                    <a:pt x="121" y="242"/>
                    <a:pt x="135" y="241"/>
                  </a:cubicBezTo>
                  <a:cubicBezTo>
                    <a:pt x="146" y="241"/>
                    <a:pt x="158" y="241"/>
                    <a:pt x="169" y="241"/>
                  </a:cubicBezTo>
                  <a:cubicBezTo>
                    <a:pt x="182" y="242"/>
                    <a:pt x="193" y="235"/>
                    <a:pt x="205" y="232"/>
                  </a:cubicBezTo>
                  <a:cubicBezTo>
                    <a:pt x="210" y="231"/>
                    <a:pt x="211" y="227"/>
                    <a:pt x="211" y="224"/>
                  </a:cubicBezTo>
                  <a:cubicBezTo>
                    <a:pt x="211" y="210"/>
                    <a:pt x="211" y="196"/>
                    <a:pt x="211" y="183"/>
                  </a:cubicBezTo>
                  <a:cubicBezTo>
                    <a:pt x="211" y="177"/>
                    <a:pt x="207" y="175"/>
                    <a:pt x="202" y="175"/>
                  </a:cubicBezTo>
                  <a:cubicBezTo>
                    <a:pt x="193" y="175"/>
                    <a:pt x="184" y="175"/>
                    <a:pt x="175" y="175"/>
                  </a:cubicBezTo>
                  <a:cubicBezTo>
                    <a:pt x="171" y="175"/>
                    <a:pt x="168" y="174"/>
                    <a:pt x="166" y="171"/>
                  </a:cubicBezTo>
                  <a:cubicBezTo>
                    <a:pt x="163" y="163"/>
                    <a:pt x="164" y="154"/>
                    <a:pt x="166" y="146"/>
                  </a:cubicBezTo>
                  <a:cubicBezTo>
                    <a:pt x="167" y="142"/>
                    <a:pt x="171" y="142"/>
                    <a:pt x="175" y="142"/>
                  </a:cubicBezTo>
                  <a:cubicBezTo>
                    <a:pt x="196" y="142"/>
                    <a:pt x="217" y="142"/>
                    <a:pt x="238" y="142"/>
                  </a:cubicBezTo>
                  <a:cubicBezTo>
                    <a:pt x="247" y="142"/>
                    <a:pt x="248" y="148"/>
                    <a:pt x="248" y="155"/>
                  </a:cubicBezTo>
                  <a:cubicBezTo>
                    <a:pt x="249" y="169"/>
                    <a:pt x="248" y="183"/>
                    <a:pt x="248" y="198"/>
                  </a:cubicBezTo>
                  <a:close/>
                  <a:moveTo>
                    <a:pt x="884" y="1181"/>
                  </a:moveTo>
                  <a:cubicBezTo>
                    <a:pt x="889" y="1167"/>
                    <a:pt x="894" y="1152"/>
                    <a:pt x="898" y="1137"/>
                  </a:cubicBezTo>
                  <a:cubicBezTo>
                    <a:pt x="901" y="1127"/>
                    <a:pt x="905" y="1116"/>
                    <a:pt x="908" y="1106"/>
                  </a:cubicBezTo>
                  <a:cubicBezTo>
                    <a:pt x="911" y="1098"/>
                    <a:pt x="912" y="1089"/>
                    <a:pt x="916" y="1081"/>
                  </a:cubicBezTo>
                  <a:cubicBezTo>
                    <a:pt x="921" y="1072"/>
                    <a:pt x="923" y="1060"/>
                    <a:pt x="927" y="1050"/>
                  </a:cubicBezTo>
                  <a:cubicBezTo>
                    <a:pt x="932" y="1037"/>
                    <a:pt x="934" y="1023"/>
                    <a:pt x="940" y="1010"/>
                  </a:cubicBezTo>
                  <a:cubicBezTo>
                    <a:pt x="945" y="1001"/>
                    <a:pt x="941" y="995"/>
                    <a:pt x="931" y="995"/>
                  </a:cubicBezTo>
                  <a:cubicBezTo>
                    <a:pt x="927" y="995"/>
                    <a:pt x="922" y="995"/>
                    <a:pt x="918" y="995"/>
                  </a:cubicBezTo>
                  <a:cubicBezTo>
                    <a:pt x="913" y="995"/>
                    <a:pt x="908" y="997"/>
                    <a:pt x="907" y="1001"/>
                  </a:cubicBezTo>
                  <a:cubicBezTo>
                    <a:pt x="904" y="1008"/>
                    <a:pt x="900" y="1015"/>
                    <a:pt x="899" y="1023"/>
                  </a:cubicBezTo>
                  <a:cubicBezTo>
                    <a:pt x="897" y="1034"/>
                    <a:pt x="893" y="1045"/>
                    <a:pt x="889" y="1055"/>
                  </a:cubicBezTo>
                  <a:cubicBezTo>
                    <a:pt x="887" y="1064"/>
                    <a:pt x="885" y="1072"/>
                    <a:pt x="882" y="1080"/>
                  </a:cubicBezTo>
                  <a:cubicBezTo>
                    <a:pt x="878" y="1091"/>
                    <a:pt x="874" y="1103"/>
                    <a:pt x="871" y="1115"/>
                  </a:cubicBezTo>
                  <a:cubicBezTo>
                    <a:pt x="870" y="1118"/>
                    <a:pt x="871" y="1124"/>
                    <a:pt x="866" y="1124"/>
                  </a:cubicBezTo>
                  <a:cubicBezTo>
                    <a:pt x="861" y="1125"/>
                    <a:pt x="859" y="1120"/>
                    <a:pt x="858" y="1115"/>
                  </a:cubicBezTo>
                  <a:cubicBezTo>
                    <a:pt x="856" y="1110"/>
                    <a:pt x="856" y="1104"/>
                    <a:pt x="854" y="1099"/>
                  </a:cubicBezTo>
                  <a:cubicBezTo>
                    <a:pt x="848" y="1080"/>
                    <a:pt x="841" y="1062"/>
                    <a:pt x="835" y="1044"/>
                  </a:cubicBezTo>
                  <a:cubicBezTo>
                    <a:pt x="831" y="1030"/>
                    <a:pt x="828" y="1016"/>
                    <a:pt x="822" y="1003"/>
                  </a:cubicBezTo>
                  <a:cubicBezTo>
                    <a:pt x="819" y="997"/>
                    <a:pt x="814" y="994"/>
                    <a:pt x="808" y="994"/>
                  </a:cubicBezTo>
                  <a:cubicBezTo>
                    <a:pt x="799" y="993"/>
                    <a:pt x="791" y="993"/>
                    <a:pt x="787" y="1001"/>
                  </a:cubicBezTo>
                  <a:cubicBezTo>
                    <a:pt x="783" y="1008"/>
                    <a:pt x="780" y="1015"/>
                    <a:pt x="779" y="1022"/>
                  </a:cubicBezTo>
                  <a:cubicBezTo>
                    <a:pt x="778" y="1034"/>
                    <a:pt x="772" y="1044"/>
                    <a:pt x="769" y="1055"/>
                  </a:cubicBezTo>
                  <a:cubicBezTo>
                    <a:pt x="762" y="1076"/>
                    <a:pt x="754" y="1096"/>
                    <a:pt x="749" y="1117"/>
                  </a:cubicBezTo>
                  <a:cubicBezTo>
                    <a:pt x="748" y="1120"/>
                    <a:pt x="747" y="1124"/>
                    <a:pt x="742" y="1124"/>
                  </a:cubicBezTo>
                  <a:cubicBezTo>
                    <a:pt x="737" y="1124"/>
                    <a:pt x="737" y="1120"/>
                    <a:pt x="736" y="1116"/>
                  </a:cubicBezTo>
                  <a:cubicBezTo>
                    <a:pt x="734" y="1104"/>
                    <a:pt x="730" y="1092"/>
                    <a:pt x="726" y="1080"/>
                  </a:cubicBezTo>
                  <a:cubicBezTo>
                    <a:pt x="720" y="1061"/>
                    <a:pt x="714" y="1040"/>
                    <a:pt x="708" y="1020"/>
                  </a:cubicBezTo>
                  <a:cubicBezTo>
                    <a:pt x="703" y="1000"/>
                    <a:pt x="698" y="994"/>
                    <a:pt x="676" y="995"/>
                  </a:cubicBezTo>
                  <a:cubicBezTo>
                    <a:pt x="665" y="996"/>
                    <a:pt x="661" y="1001"/>
                    <a:pt x="667" y="1011"/>
                  </a:cubicBezTo>
                  <a:cubicBezTo>
                    <a:pt x="669" y="1016"/>
                    <a:pt x="670" y="1021"/>
                    <a:pt x="672" y="1025"/>
                  </a:cubicBezTo>
                  <a:cubicBezTo>
                    <a:pt x="675" y="1035"/>
                    <a:pt x="678" y="1046"/>
                    <a:pt x="681" y="1055"/>
                  </a:cubicBezTo>
                  <a:cubicBezTo>
                    <a:pt x="685" y="1068"/>
                    <a:pt x="689" y="1080"/>
                    <a:pt x="693" y="1092"/>
                  </a:cubicBezTo>
                  <a:cubicBezTo>
                    <a:pt x="697" y="1103"/>
                    <a:pt x="699" y="1113"/>
                    <a:pt x="703" y="1124"/>
                  </a:cubicBezTo>
                  <a:cubicBezTo>
                    <a:pt x="707" y="1136"/>
                    <a:pt x="711" y="1147"/>
                    <a:pt x="715" y="1160"/>
                  </a:cubicBezTo>
                  <a:cubicBezTo>
                    <a:pt x="717" y="1168"/>
                    <a:pt x="720" y="1176"/>
                    <a:pt x="724" y="1183"/>
                  </a:cubicBezTo>
                  <a:cubicBezTo>
                    <a:pt x="728" y="1189"/>
                    <a:pt x="752" y="1185"/>
                    <a:pt x="757" y="1180"/>
                  </a:cubicBezTo>
                  <a:cubicBezTo>
                    <a:pt x="764" y="1173"/>
                    <a:pt x="762" y="1163"/>
                    <a:pt x="766" y="1156"/>
                  </a:cubicBezTo>
                  <a:cubicBezTo>
                    <a:pt x="774" y="1140"/>
                    <a:pt x="778" y="1122"/>
                    <a:pt x="784" y="1105"/>
                  </a:cubicBezTo>
                  <a:cubicBezTo>
                    <a:pt x="789" y="1088"/>
                    <a:pt x="796" y="1072"/>
                    <a:pt x="800" y="1054"/>
                  </a:cubicBezTo>
                  <a:cubicBezTo>
                    <a:pt x="800" y="1053"/>
                    <a:pt x="801" y="1050"/>
                    <a:pt x="803" y="1050"/>
                  </a:cubicBezTo>
                  <a:cubicBezTo>
                    <a:pt x="806" y="1050"/>
                    <a:pt x="806" y="1052"/>
                    <a:pt x="807" y="1055"/>
                  </a:cubicBezTo>
                  <a:cubicBezTo>
                    <a:pt x="807" y="1060"/>
                    <a:pt x="810" y="1066"/>
                    <a:pt x="811" y="1071"/>
                  </a:cubicBezTo>
                  <a:cubicBezTo>
                    <a:pt x="814" y="1081"/>
                    <a:pt x="818" y="1090"/>
                    <a:pt x="821" y="1099"/>
                  </a:cubicBezTo>
                  <a:cubicBezTo>
                    <a:pt x="824" y="1110"/>
                    <a:pt x="827" y="1120"/>
                    <a:pt x="831" y="1131"/>
                  </a:cubicBezTo>
                  <a:cubicBezTo>
                    <a:pt x="834" y="1142"/>
                    <a:pt x="839" y="1153"/>
                    <a:pt x="842" y="1164"/>
                  </a:cubicBezTo>
                  <a:cubicBezTo>
                    <a:pt x="846" y="1179"/>
                    <a:pt x="850" y="1188"/>
                    <a:pt x="869" y="1185"/>
                  </a:cubicBezTo>
                  <a:cubicBezTo>
                    <a:pt x="873" y="1184"/>
                    <a:pt x="881" y="1189"/>
                    <a:pt x="884" y="1181"/>
                  </a:cubicBezTo>
                  <a:close/>
                  <a:moveTo>
                    <a:pt x="33" y="1051"/>
                  </a:moveTo>
                  <a:cubicBezTo>
                    <a:pt x="33" y="1087"/>
                    <a:pt x="33" y="1124"/>
                    <a:pt x="33" y="1160"/>
                  </a:cubicBezTo>
                  <a:cubicBezTo>
                    <a:pt x="33" y="1188"/>
                    <a:pt x="29" y="1184"/>
                    <a:pt x="58" y="1185"/>
                  </a:cubicBezTo>
                  <a:cubicBezTo>
                    <a:pt x="72" y="1185"/>
                    <a:pt x="73" y="1184"/>
                    <a:pt x="73" y="1170"/>
                  </a:cubicBezTo>
                  <a:cubicBezTo>
                    <a:pt x="73" y="1138"/>
                    <a:pt x="73" y="1107"/>
                    <a:pt x="73" y="1076"/>
                  </a:cubicBezTo>
                  <a:cubicBezTo>
                    <a:pt x="73" y="1071"/>
                    <a:pt x="72" y="1067"/>
                    <a:pt x="78" y="1065"/>
                  </a:cubicBezTo>
                  <a:cubicBezTo>
                    <a:pt x="91" y="1062"/>
                    <a:pt x="102" y="1067"/>
                    <a:pt x="110" y="1076"/>
                  </a:cubicBezTo>
                  <a:cubicBezTo>
                    <a:pt x="112" y="1080"/>
                    <a:pt x="115" y="1083"/>
                    <a:pt x="118" y="1086"/>
                  </a:cubicBezTo>
                  <a:cubicBezTo>
                    <a:pt x="132" y="1103"/>
                    <a:pt x="146" y="1119"/>
                    <a:pt x="161" y="1136"/>
                  </a:cubicBezTo>
                  <a:cubicBezTo>
                    <a:pt x="173" y="1150"/>
                    <a:pt x="186" y="1165"/>
                    <a:pt x="198" y="1179"/>
                  </a:cubicBezTo>
                  <a:cubicBezTo>
                    <a:pt x="207" y="1188"/>
                    <a:pt x="218" y="1184"/>
                    <a:pt x="228" y="1185"/>
                  </a:cubicBezTo>
                  <a:cubicBezTo>
                    <a:pt x="233" y="1185"/>
                    <a:pt x="241" y="1188"/>
                    <a:pt x="244" y="1182"/>
                  </a:cubicBezTo>
                  <a:cubicBezTo>
                    <a:pt x="246" y="1178"/>
                    <a:pt x="239" y="1173"/>
                    <a:pt x="235" y="1169"/>
                  </a:cubicBezTo>
                  <a:cubicBezTo>
                    <a:pt x="206" y="1133"/>
                    <a:pt x="176" y="1098"/>
                    <a:pt x="146" y="1062"/>
                  </a:cubicBezTo>
                  <a:cubicBezTo>
                    <a:pt x="141" y="1056"/>
                    <a:pt x="131" y="1052"/>
                    <a:pt x="132" y="1044"/>
                  </a:cubicBezTo>
                  <a:cubicBezTo>
                    <a:pt x="132" y="1036"/>
                    <a:pt x="142" y="1032"/>
                    <a:pt x="147" y="1026"/>
                  </a:cubicBezTo>
                  <a:cubicBezTo>
                    <a:pt x="164" y="1006"/>
                    <a:pt x="182" y="988"/>
                    <a:pt x="198" y="968"/>
                  </a:cubicBezTo>
                  <a:cubicBezTo>
                    <a:pt x="209" y="954"/>
                    <a:pt x="221" y="942"/>
                    <a:pt x="234" y="929"/>
                  </a:cubicBezTo>
                  <a:cubicBezTo>
                    <a:pt x="236" y="926"/>
                    <a:pt x="238" y="923"/>
                    <a:pt x="237" y="920"/>
                  </a:cubicBezTo>
                  <a:cubicBezTo>
                    <a:pt x="235" y="915"/>
                    <a:pt x="231" y="917"/>
                    <a:pt x="228" y="917"/>
                  </a:cubicBezTo>
                  <a:cubicBezTo>
                    <a:pt x="224" y="918"/>
                    <a:pt x="221" y="918"/>
                    <a:pt x="217" y="918"/>
                  </a:cubicBezTo>
                  <a:cubicBezTo>
                    <a:pt x="204" y="917"/>
                    <a:pt x="193" y="922"/>
                    <a:pt x="185" y="931"/>
                  </a:cubicBezTo>
                  <a:cubicBezTo>
                    <a:pt x="172" y="946"/>
                    <a:pt x="158" y="961"/>
                    <a:pt x="145" y="977"/>
                  </a:cubicBezTo>
                  <a:cubicBezTo>
                    <a:pt x="131" y="993"/>
                    <a:pt x="117" y="1010"/>
                    <a:pt x="102" y="1026"/>
                  </a:cubicBezTo>
                  <a:cubicBezTo>
                    <a:pt x="96" y="1032"/>
                    <a:pt x="87" y="1037"/>
                    <a:pt x="78" y="1034"/>
                  </a:cubicBezTo>
                  <a:cubicBezTo>
                    <a:pt x="70" y="1030"/>
                    <a:pt x="73" y="1021"/>
                    <a:pt x="73" y="1015"/>
                  </a:cubicBezTo>
                  <a:cubicBezTo>
                    <a:pt x="73" y="991"/>
                    <a:pt x="73" y="967"/>
                    <a:pt x="73" y="944"/>
                  </a:cubicBezTo>
                  <a:cubicBezTo>
                    <a:pt x="73" y="916"/>
                    <a:pt x="75" y="917"/>
                    <a:pt x="46" y="918"/>
                  </a:cubicBezTo>
                  <a:cubicBezTo>
                    <a:pt x="33" y="918"/>
                    <a:pt x="33" y="918"/>
                    <a:pt x="33" y="931"/>
                  </a:cubicBezTo>
                  <a:cubicBezTo>
                    <a:pt x="33" y="971"/>
                    <a:pt x="33" y="1011"/>
                    <a:pt x="33" y="1051"/>
                  </a:cubicBezTo>
                  <a:cubicBezTo>
                    <a:pt x="33" y="1051"/>
                    <a:pt x="33" y="1051"/>
                    <a:pt x="33" y="1051"/>
                  </a:cubicBezTo>
                  <a:close/>
                  <a:moveTo>
                    <a:pt x="639" y="84"/>
                  </a:moveTo>
                  <a:cubicBezTo>
                    <a:pt x="627" y="84"/>
                    <a:pt x="626" y="84"/>
                    <a:pt x="629" y="95"/>
                  </a:cubicBezTo>
                  <a:cubicBezTo>
                    <a:pt x="634" y="113"/>
                    <a:pt x="640" y="131"/>
                    <a:pt x="646" y="148"/>
                  </a:cubicBezTo>
                  <a:cubicBezTo>
                    <a:pt x="652" y="166"/>
                    <a:pt x="658" y="185"/>
                    <a:pt x="664" y="203"/>
                  </a:cubicBezTo>
                  <a:cubicBezTo>
                    <a:pt x="671" y="223"/>
                    <a:pt x="676" y="244"/>
                    <a:pt x="684" y="264"/>
                  </a:cubicBezTo>
                  <a:cubicBezTo>
                    <a:pt x="688" y="274"/>
                    <a:pt x="694" y="274"/>
                    <a:pt x="702" y="274"/>
                  </a:cubicBezTo>
                  <a:cubicBezTo>
                    <a:pt x="711" y="274"/>
                    <a:pt x="719" y="272"/>
                    <a:pt x="723" y="263"/>
                  </a:cubicBezTo>
                  <a:cubicBezTo>
                    <a:pt x="733" y="236"/>
                    <a:pt x="741" y="208"/>
                    <a:pt x="750" y="181"/>
                  </a:cubicBezTo>
                  <a:cubicBezTo>
                    <a:pt x="754" y="169"/>
                    <a:pt x="757" y="156"/>
                    <a:pt x="763" y="145"/>
                  </a:cubicBezTo>
                  <a:cubicBezTo>
                    <a:pt x="764" y="143"/>
                    <a:pt x="764" y="140"/>
                    <a:pt x="767" y="140"/>
                  </a:cubicBezTo>
                  <a:cubicBezTo>
                    <a:pt x="770" y="140"/>
                    <a:pt x="770" y="143"/>
                    <a:pt x="771" y="145"/>
                  </a:cubicBezTo>
                  <a:cubicBezTo>
                    <a:pt x="771" y="156"/>
                    <a:pt x="777" y="165"/>
                    <a:pt x="780" y="175"/>
                  </a:cubicBezTo>
                  <a:cubicBezTo>
                    <a:pt x="782" y="184"/>
                    <a:pt x="785" y="193"/>
                    <a:pt x="788" y="201"/>
                  </a:cubicBezTo>
                  <a:cubicBezTo>
                    <a:pt x="794" y="219"/>
                    <a:pt x="801" y="237"/>
                    <a:pt x="806" y="255"/>
                  </a:cubicBezTo>
                  <a:cubicBezTo>
                    <a:pt x="811" y="272"/>
                    <a:pt x="825" y="280"/>
                    <a:pt x="842" y="273"/>
                  </a:cubicBezTo>
                  <a:cubicBezTo>
                    <a:pt x="845" y="271"/>
                    <a:pt x="847" y="269"/>
                    <a:pt x="848" y="266"/>
                  </a:cubicBezTo>
                  <a:cubicBezTo>
                    <a:pt x="853" y="251"/>
                    <a:pt x="859" y="236"/>
                    <a:pt x="863" y="221"/>
                  </a:cubicBezTo>
                  <a:cubicBezTo>
                    <a:pt x="867" y="202"/>
                    <a:pt x="875" y="185"/>
                    <a:pt x="880" y="166"/>
                  </a:cubicBezTo>
                  <a:cubicBezTo>
                    <a:pt x="886" y="144"/>
                    <a:pt x="895" y="123"/>
                    <a:pt x="900" y="101"/>
                  </a:cubicBezTo>
                  <a:cubicBezTo>
                    <a:pt x="901" y="96"/>
                    <a:pt x="909" y="91"/>
                    <a:pt x="904" y="86"/>
                  </a:cubicBezTo>
                  <a:cubicBezTo>
                    <a:pt x="900" y="81"/>
                    <a:pt x="892" y="84"/>
                    <a:pt x="886" y="84"/>
                  </a:cubicBezTo>
                  <a:cubicBezTo>
                    <a:pt x="885" y="84"/>
                    <a:pt x="883" y="84"/>
                    <a:pt x="881" y="84"/>
                  </a:cubicBezTo>
                  <a:cubicBezTo>
                    <a:pt x="875" y="84"/>
                    <a:pt x="872" y="86"/>
                    <a:pt x="869" y="91"/>
                  </a:cubicBezTo>
                  <a:cubicBezTo>
                    <a:pt x="860" y="110"/>
                    <a:pt x="856" y="131"/>
                    <a:pt x="850" y="151"/>
                  </a:cubicBezTo>
                  <a:cubicBezTo>
                    <a:pt x="844" y="170"/>
                    <a:pt x="836" y="188"/>
                    <a:pt x="834" y="208"/>
                  </a:cubicBezTo>
                  <a:cubicBezTo>
                    <a:pt x="833" y="211"/>
                    <a:pt x="831" y="214"/>
                    <a:pt x="827" y="214"/>
                  </a:cubicBezTo>
                  <a:cubicBezTo>
                    <a:pt x="823" y="214"/>
                    <a:pt x="822" y="210"/>
                    <a:pt x="822" y="207"/>
                  </a:cubicBezTo>
                  <a:cubicBezTo>
                    <a:pt x="817" y="188"/>
                    <a:pt x="811" y="170"/>
                    <a:pt x="805" y="152"/>
                  </a:cubicBezTo>
                  <a:cubicBezTo>
                    <a:pt x="799" y="133"/>
                    <a:pt x="794" y="114"/>
                    <a:pt x="786" y="96"/>
                  </a:cubicBezTo>
                  <a:cubicBezTo>
                    <a:pt x="783" y="87"/>
                    <a:pt x="779" y="84"/>
                    <a:pt x="770" y="84"/>
                  </a:cubicBezTo>
                  <a:cubicBezTo>
                    <a:pt x="761" y="84"/>
                    <a:pt x="752" y="82"/>
                    <a:pt x="748" y="94"/>
                  </a:cubicBezTo>
                  <a:cubicBezTo>
                    <a:pt x="744" y="109"/>
                    <a:pt x="738" y="123"/>
                    <a:pt x="734" y="138"/>
                  </a:cubicBezTo>
                  <a:cubicBezTo>
                    <a:pt x="729" y="153"/>
                    <a:pt x="724" y="167"/>
                    <a:pt x="719" y="182"/>
                  </a:cubicBezTo>
                  <a:cubicBezTo>
                    <a:pt x="716" y="192"/>
                    <a:pt x="715" y="203"/>
                    <a:pt x="708" y="212"/>
                  </a:cubicBezTo>
                  <a:cubicBezTo>
                    <a:pt x="707" y="214"/>
                    <a:pt x="707" y="217"/>
                    <a:pt x="704" y="217"/>
                  </a:cubicBezTo>
                  <a:cubicBezTo>
                    <a:pt x="701" y="217"/>
                    <a:pt x="701" y="213"/>
                    <a:pt x="700" y="211"/>
                  </a:cubicBezTo>
                  <a:cubicBezTo>
                    <a:pt x="699" y="198"/>
                    <a:pt x="694" y="186"/>
                    <a:pt x="690" y="174"/>
                  </a:cubicBezTo>
                  <a:cubicBezTo>
                    <a:pt x="684" y="153"/>
                    <a:pt x="677" y="131"/>
                    <a:pt x="672" y="110"/>
                  </a:cubicBezTo>
                  <a:cubicBezTo>
                    <a:pt x="667" y="88"/>
                    <a:pt x="663" y="84"/>
                    <a:pt x="645" y="84"/>
                  </a:cubicBezTo>
                  <a:cubicBezTo>
                    <a:pt x="643" y="84"/>
                    <a:pt x="641" y="84"/>
                    <a:pt x="639" y="84"/>
                  </a:cubicBezTo>
                  <a:close/>
                  <a:moveTo>
                    <a:pt x="507" y="711"/>
                  </a:moveTo>
                  <a:cubicBezTo>
                    <a:pt x="507" y="730"/>
                    <a:pt x="507" y="730"/>
                    <a:pt x="526" y="730"/>
                  </a:cubicBezTo>
                  <a:cubicBezTo>
                    <a:pt x="539" y="730"/>
                    <a:pt x="541" y="729"/>
                    <a:pt x="541" y="715"/>
                  </a:cubicBezTo>
                  <a:cubicBezTo>
                    <a:pt x="541" y="677"/>
                    <a:pt x="541" y="638"/>
                    <a:pt x="540" y="600"/>
                  </a:cubicBezTo>
                  <a:cubicBezTo>
                    <a:pt x="540" y="593"/>
                    <a:pt x="543" y="587"/>
                    <a:pt x="548" y="582"/>
                  </a:cubicBezTo>
                  <a:cubicBezTo>
                    <a:pt x="553" y="576"/>
                    <a:pt x="559" y="573"/>
                    <a:pt x="564" y="569"/>
                  </a:cubicBezTo>
                  <a:cubicBezTo>
                    <a:pt x="574" y="564"/>
                    <a:pt x="594" y="566"/>
                    <a:pt x="602" y="574"/>
                  </a:cubicBezTo>
                  <a:cubicBezTo>
                    <a:pt x="611" y="582"/>
                    <a:pt x="614" y="592"/>
                    <a:pt x="614" y="604"/>
                  </a:cubicBezTo>
                  <a:cubicBezTo>
                    <a:pt x="614" y="638"/>
                    <a:pt x="614" y="672"/>
                    <a:pt x="614" y="706"/>
                  </a:cubicBezTo>
                  <a:cubicBezTo>
                    <a:pt x="614" y="730"/>
                    <a:pt x="614" y="730"/>
                    <a:pt x="638" y="730"/>
                  </a:cubicBezTo>
                  <a:cubicBezTo>
                    <a:pt x="650" y="730"/>
                    <a:pt x="650" y="730"/>
                    <a:pt x="650" y="717"/>
                  </a:cubicBezTo>
                  <a:cubicBezTo>
                    <a:pt x="650" y="684"/>
                    <a:pt x="650" y="650"/>
                    <a:pt x="650" y="617"/>
                  </a:cubicBezTo>
                  <a:cubicBezTo>
                    <a:pt x="650" y="606"/>
                    <a:pt x="651" y="597"/>
                    <a:pt x="657" y="586"/>
                  </a:cubicBezTo>
                  <a:cubicBezTo>
                    <a:pt x="667" y="565"/>
                    <a:pt x="703" y="560"/>
                    <a:pt x="716" y="579"/>
                  </a:cubicBezTo>
                  <a:cubicBezTo>
                    <a:pt x="723" y="588"/>
                    <a:pt x="724" y="598"/>
                    <a:pt x="724" y="609"/>
                  </a:cubicBezTo>
                  <a:cubicBezTo>
                    <a:pt x="724" y="645"/>
                    <a:pt x="724" y="682"/>
                    <a:pt x="724" y="718"/>
                  </a:cubicBezTo>
                  <a:cubicBezTo>
                    <a:pt x="724" y="727"/>
                    <a:pt x="727" y="731"/>
                    <a:pt x="736" y="730"/>
                  </a:cubicBezTo>
                  <a:cubicBezTo>
                    <a:pt x="738" y="730"/>
                    <a:pt x="741" y="730"/>
                    <a:pt x="743" y="730"/>
                  </a:cubicBezTo>
                  <a:cubicBezTo>
                    <a:pt x="758" y="730"/>
                    <a:pt x="759" y="729"/>
                    <a:pt x="759" y="715"/>
                  </a:cubicBezTo>
                  <a:cubicBezTo>
                    <a:pt x="759" y="677"/>
                    <a:pt x="758" y="639"/>
                    <a:pt x="759" y="601"/>
                  </a:cubicBezTo>
                  <a:cubicBezTo>
                    <a:pt x="759" y="571"/>
                    <a:pt x="742" y="540"/>
                    <a:pt x="704" y="538"/>
                  </a:cubicBezTo>
                  <a:cubicBezTo>
                    <a:pt x="681" y="536"/>
                    <a:pt x="661" y="542"/>
                    <a:pt x="646" y="560"/>
                  </a:cubicBezTo>
                  <a:cubicBezTo>
                    <a:pt x="638" y="569"/>
                    <a:pt x="638" y="569"/>
                    <a:pt x="631" y="559"/>
                  </a:cubicBezTo>
                  <a:cubicBezTo>
                    <a:pt x="630" y="558"/>
                    <a:pt x="630" y="557"/>
                    <a:pt x="629" y="556"/>
                  </a:cubicBezTo>
                  <a:cubicBezTo>
                    <a:pt x="623" y="548"/>
                    <a:pt x="616" y="541"/>
                    <a:pt x="607" y="539"/>
                  </a:cubicBezTo>
                  <a:cubicBezTo>
                    <a:pt x="584" y="534"/>
                    <a:pt x="563" y="539"/>
                    <a:pt x="545" y="555"/>
                  </a:cubicBezTo>
                  <a:cubicBezTo>
                    <a:pt x="540" y="559"/>
                    <a:pt x="537" y="561"/>
                    <a:pt x="537" y="552"/>
                  </a:cubicBezTo>
                  <a:cubicBezTo>
                    <a:pt x="536" y="543"/>
                    <a:pt x="526" y="538"/>
                    <a:pt x="515" y="539"/>
                  </a:cubicBezTo>
                  <a:cubicBezTo>
                    <a:pt x="506" y="540"/>
                    <a:pt x="507" y="546"/>
                    <a:pt x="507" y="552"/>
                  </a:cubicBezTo>
                  <a:cubicBezTo>
                    <a:pt x="507" y="580"/>
                    <a:pt x="507" y="607"/>
                    <a:pt x="507" y="634"/>
                  </a:cubicBezTo>
                  <a:cubicBezTo>
                    <a:pt x="507" y="660"/>
                    <a:pt x="507" y="685"/>
                    <a:pt x="507" y="711"/>
                  </a:cubicBezTo>
                  <a:close/>
                  <a:moveTo>
                    <a:pt x="1525" y="1142"/>
                  </a:moveTo>
                  <a:cubicBezTo>
                    <a:pt x="1517" y="1143"/>
                    <a:pt x="1511" y="1141"/>
                    <a:pt x="1505" y="1136"/>
                  </a:cubicBezTo>
                  <a:cubicBezTo>
                    <a:pt x="1501" y="1133"/>
                    <a:pt x="1495" y="1130"/>
                    <a:pt x="1498" y="1124"/>
                  </a:cubicBezTo>
                  <a:cubicBezTo>
                    <a:pt x="1500" y="1118"/>
                    <a:pt x="1504" y="1114"/>
                    <a:pt x="1512" y="1114"/>
                  </a:cubicBezTo>
                  <a:cubicBezTo>
                    <a:pt x="1521" y="1115"/>
                    <a:pt x="1530" y="1114"/>
                    <a:pt x="1538" y="1115"/>
                  </a:cubicBezTo>
                  <a:cubicBezTo>
                    <a:pt x="1573" y="1117"/>
                    <a:pt x="1610" y="1084"/>
                    <a:pt x="1602" y="1044"/>
                  </a:cubicBezTo>
                  <a:cubicBezTo>
                    <a:pt x="1600" y="1035"/>
                    <a:pt x="1599" y="1028"/>
                    <a:pt x="1611" y="1027"/>
                  </a:cubicBezTo>
                  <a:cubicBezTo>
                    <a:pt x="1614" y="1027"/>
                    <a:pt x="1617" y="1024"/>
                    <a:pt x="1619" y="1023"/>
                  </a:cubicBezTo>
                  <a:cubicBezTo>
                    <a:pt x="1626" y="1019"/>
                    <a:pt x="1624" y="1013"/>
                    <a:pt x="1623" y="1008"/>
                  </a:cubicBezTo>
                  <a:cubicBezTo>
                    <a:pt x="1623" y="1002"/>
                    <a:pt x="1618" y="1003"/>
                    <a:pt x="1613" y="1002"/>
                  </a:cubicBezTo>
                  <a:cubicBezTo>
                    <a:pt x="1598" y="1002"/>
                    <a:pt x="1582" y="1004"/>
                    <a:pt x="1567" y="1000"/>
                  </a:cubicBezTo>
                  <a:cubicBezTo>
                    <a:pt x="1560" y="999"/>
                    <a:pt x="1554" y="993"/>
                    <a:pt x="1546" y="993"/>
                  </a:cubicBezTo>
                  <a:cubicBezTo>
                    <a:pt x="1536" y="994"/>
                    <a:pt x="1525" y="992"/>
                    <a:pt x="1515" y="993"/>
                  </a:cubicBezTo>
                  <a:cubicBezTo>
                    <a:pt x="1490" y="997"/>
                    <a:pt x="1469" y="1010"/>
                    <a:pt x="1462" y="1034"/>
                  </a:cubicBezTo>
                  <a:cubicBezTo>
                    <a:pt x="1455" y="1056"/>
                    <a:pt x="1457" y="1079"/>
                    <a:pt x="1476" y="1096"/>
                  </a:cubicBezTo>
                  <a:cubicBezTo>
                    <a:pt x="1483" y="1103"/>
                    <a:pt x="1483" y="1107"/>
                    <a:pt x="1476" y="1113"/>
                  </a:cubicBezTo>
                  <a:cubicBezTo>
                    <a:pt x="1462" y="1126"/>
                    <a:pt x="1462" y="1142"/>
                    <a:pt x="1473" y="1157"/>
                  </a:cubicBezTo>
                  <a:cubicBezTo>
                    <a:pt x="1476" y="1160"/>
                    <a:pt x="1476" y="1162"/>
                    <a:pt x="1472" y="1164"/>
                  </a:cubicBezTo>
                  <a:cubicBezTo>
                    <a:pt x="1470" y="1166"/>
                    <a:pt x="1468" y="1168"/>
                    <a:pt x="1466" y="1170"/>
                  </a:cubicBezTo>
                  <a:cubicBezTo>
                    <a:pt x="1449" y="1183"/>
                    <a:pt x="1444" y="1201"/>
                    <a:pt x="1454" y="1218"/>
                  </a:cubicBezTo>
                  <a:cubicBezTo>
                    <a:pt x="1464" y="1235"/>
                    <a:pt x="1479" y="1246"/>
                    <a:pt x="1499" y="1249"/>
                  </a:cubicBezTo>
                  <a:cubicBezTo>
                    <a:pt x="1517" y="1252"/>
                    <a:pt x="1535" y="1253"/>
                    <a:pt x="1553" y="1250"/>
                  </a:cubicBezTo>
                  <a:cubicBezTo>
                    <a:pt x="1584" y="1245"/>
                    <a:pt x="1607" y="1232"/>
                    <a:pt x="1619" y="1200"/>
                  </a:cubicBezTo>
                  <a:cubicBezTo>
                    <a:pt x="1627" y="1180"/>
                    <a:pt x="1611" y="1155"/>
                    <a:pt x="1593" y="1148"/>
                  </a:cubicBezTo>
                  <a:cubicBezTo>
                    <a:pt x="1578" y="1142"/>
                    <a:pt x="1563" y="1143"/>
                    <a:pt x="1549" y="1142"/>
                  </a:cubicBezTo>
                  <a:cubicBezTo>
                    <a:pt x="1540" y="1142"/>
                    <a:pt x="1532" y="1142"/>
                    <a:pt x="1525" y="1142"/>
                  </a:cubicBezTo>
                  <a:close/>
                  <a:moveTo>
                    <a:pt x="1556" y="1172"/>
                  </a:moveTo>
                  <a:cubicBezTo>
                    <a:pt x="1566" y="1172"/>
                    <a:pt x="1576" y="1176"/>
                    <a:pt x="1583" y="1183"/>
                  </a:cubicBezTo>
                  <a:cubicBezTo>
                    <a:pt x="1589" y="1190"/>
                    <a:pt x="1589" y="1198"/>
                    <a:pt x="1583" y="1205"/>
                  </a:cubicBezTo>
                  <a:cubicBezTo>
                    <a:pt x="1575" y="1215"/>
                    <a:pt x="1565" y="1220"/>
                    <a:pt x="1553" y="1223"/>
                  </a:cubicBezTo>
                  <a:cubicBezTo>
                    <a:pt x="1534" y="1228"/>
                    <a:pt x="1516" y="1225"/>
                    <a:pt x="1499" y="1219"/>
                  </a:cubicBezTo>
                  <a:cubicBezTo>
                    <a:pt x="1486" y="1214"/>
                    <a:pt x="1479" y="1203"/>
                    <a:pt x="1482" y="1193"/>
                  </a:cubicBezTo>
                  <a:cubicBezTo>
                    <a:pt x="1485" y="1182"/>
                    <a:pt x="1496" y="1168"/>
                    <a:pt x="1514" y="1171"/>
                  </a:cubicBezTo>
                  <a:cubicBezTo>
                    <a:pt x="1526" y="1173"/>
                    <a:pt x="1541" y="1171"/>
                    <a:pt x="1556" y="1172"/>
                  </a:cubicBezTo>
                  <a:close/>
                  <a:moveTo>
                    <a:pt x="1531" y="1019"/>
                  </a:moveTo>
                  <a:cubicBezTo>
                    <a:pt x="1553" y="1017"/>
                    <a:pt x="1570" y="1033"/>
                    <a:pt x="1570" y="1052"/>
                  </a:cubicBezTo>
                  <a:cubicBezTo>
                    <a:pt x="1570" y="1075"/>
                    <a:pt x="1554" y="1093"/>
                    <a:pt x="1532" y="1091"/>
                  </a:cubicBezTo>
                  <a:cubicBezTo>
                    <a:pt x="1508" y="1089"/>
                    <a:pt x="1494" y="1082"/>
                    <a:pt x="1493" y="1053"/>
                  </a:cubicBezTo>
                  <a:cubicBezTo>
                    <a:pt x="1494" y="1029"/>
                    <a:pt x="1508" y="1020"/>
                    <a:pt x="1531" y="1019"/>
                  </a:cubicBezTo>
                  <a:close/>
                  <a:moveTo>
                    <a:pt x="1413" y="934"/>
                  </a:moveTo>
                  <a:cubicBezTo>
                    <a:pt x="1413" y="909"/>
                    <a:pt x="1413" y="909"/>
                    <a:pt x="1389" y="910"/>
                  </a:cubicBezTo>
                  <a:cubicBezTo>
                    <a:pt x="1388" y="910"/>
                    <a:pt x="1387" y="910"/>
                    <a:pt x="1387" y="910"/>
                  </a:cubicBezTo>
                  <a:cubicBezTo>
                    <a:pt x="1379" y="910"/>
                    <a:pt x="1376" y="915"/>
                    <a:pt x="1376" y="921"/>
                  </a:cubicBezTo>
                  <a:cubicBezTo>
                    <a:pt x="1376" y="939"/>
                    <a:pt x="1377" y="956"/>
                    <a:pt x="1377" y="974"/>
                  </a:cubicBezTo>
                  <a:cubicBezTo>
                    <a:pt x="1377" y="983"/>
                    <a:pt x="1377" y="991"/>
                    <a:pt x="1377" y="1000"/>
                  </a:cubicBezTo>
                  <a:cubicBezTo>
                    <a:pt x="1377" y="1005"/>
                    <a:pt x="1374" y="1009"/>
                    <a:pt x="1369" y="1005"/>
                  </a:cubicBezTo>
                  <a:cubicBezTo>
                    <a:pt x="1352" y="990"/>
                    <a:pt x="1332" y="993"/>
                    <a:pt x="1312" y="993"/>
                  </a:cubicBezTo>
                  <a:cubicBezTo>
                    <a:pt x="1303" y="994"/>
                    <a:pt x="1294" y="998"/>
                    <a:pt x="1287" y="1003"/>
                  </a:cubicBezTo>
                  <a:cubicBezTo>
                    <a:pt x="1265" y="1017"/>
                    <a:pt x="1252" y="1039"/>
                    <a:pt x="1248" y="1065"/>
                  </a:cubicBezTo>
                  <a:cubicBezTo>
                    <a:pt x="1244" y="1096"/>
                    <a:pt x="1244" y="1128"/>
                    <a:pt x="1261" y="1157"/>
                  </a:cubicBezTo>
                  <a:cubicBezTo>
                    <a:pt x="1270" y="1170"/>
                    <a:pt x="1281" y="1181"/>
                    <a:pt x="1296" y="1185"/>
                  </a:cubicBezTo>
                  <a:cubicBezTo>
                    <a:pt x="1323" y="1191"/>
                    <a:pt x="1349" y="1188"/>
                    <a:pt x="1370" y="1167"/>
                  </a:cubicBezTo>
                  <a:cubicBezTo>
                    <a:pt x="1372" y="1165"/>
                    <a:pt x="1375" y="1162"/>
                    <a:pt x="1379" y="1163"/>
                  </a:cubicBezTo>
                  <a:cubicBezTo>
                    <a:pt x="1382" y="1165"/>
                    <a:pt x="1381" y="1169"/>
                    <a:pt x="1381" y="1172"/>
                  </a:cubicBezTo>
                  <a:cubicBezTo>
                    <a:pt x="1383" y="1181"/>
                    <a:pt x="1390" y="1186"/>
                    <a:pt x="1403" y="1186"/>
                  </a:cubicBezTo>
                  <a:cubicBezTo>
                    <a:pt x="1413" y="1185"/>
                    <a:pt x="1413" y="1178"/>
                    <a:pt x="1413" y="1172"/>
                  </a:cubicBezTo>
                  <a:cubicBezTo>
                    <a:pt x="1413" y="1131"/>
                    <a:pt x="1413" y="1090"/>
                    <a:pt x="1413" y="1049"/>
                  </a:cubicBezTo>
                  <a:cubicBezTo>
                    <a:pt x="1413" y="1010"/>
                    <a:pt x="1413" y="972"/>
                    <a:pt x="1413" y="934"/>
                  </a:cubicBezTo>
                  <a:close/>
                  <a:moveTo>
                    <a:pt x="1378" y="1113"/>
                  </a:moveTo>
                  <a:cubicBezTo>
                    <a:pt x="1378" y="1136"/>
                    <a:pt x="1360" y="1155"/>
                    <a:pt x="1337" y="1157"/>
                  </a:cubicBezTo>
                  <a:cubicBezTo>
                    <a:pt x="1319" y="1159"/>
                    <a:pt x="1304" y="1154"/>
                    <a:pt x="1294" y="1139"/>
                  </a:cubicBezTo>
                  <a:cubicBezTo>
                    <a:pt x="1286" y="1128"/>
                    <a:pt x="1283" y="1116"/>
                    <a:pt x="1283" y="1102"/>
                  </a:cubicBezTo>
                  <a:cubicBezTo>
                    <a:pt x="1282" y="1085"/>
                    <a:pt x="1282" y="1067"/>
                    <a:pt x="1290" y="1051"/>
                  </a:cubicBezTo>
                  <a:cubicBezTo>
                    <a:pt x="1297" y="1036"/>
                    <a:pt x="1308" y="1024"/>
                    <a:pt x="1325" y="1022"/>
                  </a:cubicBezTo>
                  <a:cubicBezTo>
                    <a:pt x="1342" y="1020"/>
                    <a:pt x="1358" y="1021"/>
                    <a:pt x="1371" y="1035"/>
                  </a:cubicBezTo>
                  <a:cubicBezTo>
                    <a:pt x="1376" y="1041"/>
                    <a:pt x="1378" y="1046"/>
                    <a:pt x="1378" y="1052"/>
                  </a:cubicBezTo>
                  <a:cubicBezTo>
                    <a:pt x="1378" y="1064"/>
                    <a:pt x="1378" y="1075"/>
                    <a:pt x="1378" y="1086"/>
                  </a:cubicBezTo>
                  <a:cubicBezTo>
                    <a:pt x="1378" y="1086"/>
                    <a:pt x="1378" y="1086"/>
                    <a:pt x="1378" y="1086"/>
                  </a:cubicBezTo>
                  <a:cubicBezTo>
                    <a:pt x="1378" y="1095"/>
                    <a:pt x="1378" y="1104"/>
                    <a:pt x="1378" y="1113"/>
                  </a:cubicBezTo>
                  <a:close/>
                  <a:moveTo>
                    <a:pt x="578" y="259"/>
                  </a:moveTo>
                  <a:cubicBezTo>
                    <a:pt x="603" y="241"/>
                    <a:pt x="611" y="213"/>
                    <a:pt x="614" y="183"/>
                  </a:cubicBezTo>
                  <a:cubicBezTo>
                    <a:pt x="615" y="171"/>
                    <a:pt x="610" y="159"/>
                    <a:pt x="609" y="147"/>
                  </a:cubicBezTo>
                  <a:cubicBezTo>
                    <a:pt x="608" y="137"/>
                    <a:pt x="603" y="129"/>
                    <a:pt x="599" y="121"/>
                  </a:cubicBezTo>
                  <a:cubicBezTo>
                    <a:pt x="579" y="87"/>
                    <a:pt x="527" y="70"/>
                    <a:pt x="488" y="85"/>
                  </a:cubicBezTo>
                  <a:cubicBezTo>
                    <a:pt x="453" y="99"/>
                    <a:pt x="436" y="127"/>
                    <a:pt x="431" y="163"/>
                  </a:cubicBezTo>
                  <a:cubicBezTo>
                    <a:pt x="429" y="180"/>
                    <a:pt x="430" y="196"/>
                    <a:pt x="436" y="213"/>
                  </a:cubicBezTo>
                  <a:cubicBezTo>
                    <a:pt x="439" y="222"/>
                    <a:pt x="442" y="232"/>
                    <a:pt x="447" y="239"/>
                  </a:cubicBezTo>
                  <a:cubicBezTo>
                    <a:pt x="465" y="265"/>
                    <a:pt x="491" y="277"/>
                    <a:pt x="525" y="276"/>
                  </a:cubicBezTo>
                  <a:cubicBezTo>
                    <a:pt x="543" y="278"/>
                    <a:pt x="562" y="271"/>
                    <a:pt x="578" y="259"/>
                  </a:cubicBezTo>
                  <a:close/>
                  <a:moveTo>
                    <a:pt x="471" y="205"/>
                  </a:moveTo>
                  <a:cubicBezTo>
                    <a:pt x="466" y="185"/>
                    <a:pt x="468" y="167"/>
                    <a:pt x="472" y="147"/>
                  </a:cubicBezTo>
                  <a:cubicBezTo>
                    <a:pt x="477" y="130"/>
                    <a:pt x="493" y="116"/>
                    <a:pt x="509" y="112"/>
                  </a:cubicBezTo>
                  <a:cubicBezTo>
                    <a:pt x="525" y="108"/>
                    <a:pt x="539" y="110"/>
                    <a:pt x="553" y="119"/>
                  </a:cubicBezTo>
                  <a:cubicBezTo>
                    <a:pt x="563" y="125"/>
                    <a:pt x="568" y="135"/>
                    <a:pt x="571" y="146"/>
                  </a:cubicBezTo>
                  <a:cubicBezTo>
                    <a:pt x="577" y="167"/>
                    <a:pt x="578" y="189"/>
                    <a:pt x="571" y="211"/>
                  </a:cubicBezTo>
                  <a:cubicBezTo>
                    <a:pt x="565" y="231"/>
                    <a:pt x="549" y="249"/>
                    <a:pt x="521" y="247"/>
                  </a:cubicBezTo>
                  <a:cubicBezTo>
                    <a:pt x="496" y="247"/>
                    <a:pt x="478" y="230"/>
                    <a:pt x="471" y="205"/>
                  </a:cubicBezTo>
                  <a:close/>
                  <a:moveTo>
                    <a:pt x="472" y="1122"/>
                  </a:moveTo>
                  <a:cubicBezTo>
                    <a:pt x="475" y="1136"/>
                    <a:pt x="481" y="1148"/>
                    <a:pt x="491" y="1158"/>
                  </a:cubicBezTo>
                  <a:cubicBezTo>
                    <a:pt x="506" y="1176"/>
                    <a:pt x="524" y="1185"/>
                    <a:pt x="548" y="1187"/>
                  </a:cubicBezTo>
                  <a:cubicBezTo>
                    <a:pt x="568" y="1188"/>
                    <a:pt x="587" y="1187"/>
                    <a:pt x="605" y="1177"/>
                  </a:cubicBezTo>
                  <a:cubicBezTo>
                    <a:pt x="632" y="1162"/>
                    <a:pt x="644" y="1136"/>
                    <a:pt x="649" y="1107"/>
                  </a:cubicBezTo>
                  <a:cubicBezTo>
                    <a:pt x="652" y="1089"/>
                    <a:pt x="649" y="1072"/>
                    <a:pt x="644" y="1054"/>
                  </a:cubicBezTo>
                  <a:cubicBezTo>
                    <a:pt x="638" y="1034"/>
                    <a:pt x="627" y="1019"/>
                    <a:pt x="610" y="1007"/>
                  </a:cubicBezTo>
                  <a:cubicBezTo>
                    <a:pt x="589" y="992"/>
                    <a:pt x="566" y="991"/>
                    <a:pt x="541" y="994"/>
                  </a:cubicBezTo>
                  <a:cubicBezTo>
                    <a:pt x="526" y="995"/>
                    <a:pt x="512" y="1002"/>
                    <a:pt x="500" y="1012"/>
                  </a:cubicBezTo>
                  <a:cubicBezTo>
                    <a:pt x="476" y="1032"/>
                    <a:pt x="469" y="1060"/>
                    <a:pt x="466" y="1095"/>
                  </a:cubicBezTo>
                  <a:cubicBezTo>
                    <a:pt x="465" y="1101"/>
                    <a:pt x="470" y="1111"/>
                    <a:pt x="472" y="1122"/>
                  </a:cubicBezTo>
                  <a:close/>
                  <a:moveTo>
                    <a:pt x="508" y="1113"/>
                  </a:moveTo>
                  <a:cubicBezTo>
                    <a:pt x="505" y="1095"/>
                    <a:pt x="506" y="1078"/>
                    <a:pt x="508" y="1061"/>
                  </a:cubicBezTo>
                  <a:cubicBezTo>
                    <a:pt x="511" y="1042"/>
                    <a:pt x="538" y="1021"/>
                    <a:pt x="554" y="1022"/>
                  </a:cubicBezTo>
                  <a:cubicBezTo>
                    <a:pt x="570" y="1022"/>
                    <a:pt x="586" y="1024"/>
                    <a:pt x="596" y="1037"/>
                  </a:cubicBezTo>
                  <a:cubicBezTo>
                    <a:pt x="602" y="1044"/>
                    <a:pt x="607" y="1052"/>
                    <a:pt x="608" y="1061"/>
                  </a:cubicBezTo>
                  <a:cubicBezTo>
                    <a:pt x="608" y="1064"/>
                    <a:pt x="609" y="1067"/>
                    <a:pt x="610" y="1070"/>
                  </a:cubicBezTo>
                  <a:cubicBezTo>
                    <a:pt x="618" y="1089"/>
                    <a:pt x="612" y="1107"/>
                    <a:pt x="607" y="1125"/>
                  </a:cubicBezTo>
                  <a:cubicBezTo>
                    <a:pt x="601" y="1143"/>
                    <a:pt x="588" y="1160"/>
                    <a:pt x="558" y="1157"/>
                  </a:cubicBezTo>
                  <a:cubicBezTo>
                    <a:pt x="530" y="1157"/>
                    <a:pt x="512" y="1141"/>
                    <a:pt x="508" y="1113"/>
                  </a:cubicBezTo>
                  <a:close/>
                  <a:moveTo>
                    <a:pt x="430" y="716"/>
                  </a:moveTo>
                  <a:cubicBezTo>
                    <a:pt x="450" y="703"/>
                    <a:pt x="459" y="683"/>
                    <a:pt x="464" y="661"/>
                  </a:cubicBezTo>
                  <a:cubicBezTo>
                    <a:pt x="468" y="648"/>
                    <a:pt x="467" y="635"/>
                    <a:pt x="466" y="621"/>
                  </a:cubicBezTo>
                  <a:cubicBezTo>
                    <a:pt x="463" y="592"/>
                    <a:pt x="453" y="567"/>
                    <a:pt x="427" y="550"/>
                  </a:cubicBezTo>
                  <a:cubicBezTo>
                    <a:pt x="401" y="534"/>
                    <a:pt x="372" y="532"/>
                    <a:pt x="345" y="541"/>
                  </a:cubicBezTo>
                  <a:cubicBezTo>
                    <a:pt x="310" y="552"/>
                    <a:pt x="291" y="580"/>
                    <a:pt x="287" y="617"/>
                  </a:cubicBezTo>
                  <a:cubicBezTo>
                    <a:pt x="286" y="629"/>
                    <a:pt x="286" y="641"/>
                    <a:pt x="287" y="654"/>
                  </a:cubicBezTo>
                  <a:cubicBezTo>
                    <a:pt x="289" y="671"/>
                    <a:pt x="295" y="686"/>
                    <a:pt x="306" y="700"/>
                  </a:cubicBezTo>
                  <a:cubicBezTo>
                    <a:pt x="324" y="722"/>
                    <a:pt x="348" y="733"/>
                    <a:pt x="378" y="731"/>
                  </a:cubicBezTo>
                  <a:cubicBezTo>
                    <a:pt x="396" y="733"/>
                    <a:pt x="414" y="727"/>
                    <a:pt x="430" y="716"/>
                  </a:cubicBezTo>
                  <a:close/>
                  <a:moveTo>
                    <a:pt x="331" y="592"/>
                  </a:moveTo>
                  <a:cubicBezTo>
                    <a:pt x="339" y="580"/>
                    <a:pt x="349" y="569"/>
                    <a:pt x="365" y="567"/>
                  </a:cubicBezTo>
                  <a:cubicBezTo>
                    <a:pt x="387" y="564"/>
                    <a:pt x="406" y="568"/>
                    <a:pt x="419" y="588"/>
                  </a:cubicBezTo>
                  <a:cubicBezTo>
                    <a:pt x="423" y="595"/>
                    <a:pt x="426" y="603"/>
                    <a:pt x="427" y="610"/>
                  </a:cubicBezTo>
                  <a:cubicBezTo>
                    <a:pt x="433" y="635"/>
                    <a:pt x="431" y="661"/>
                    <a:pt x="416" y="684"/>
                  </a:cubicBezTo>
                  <a:cubicBezTo>
                    <a:pt x="403" y="706"/>
                    <a:pt x="362" y="708"/>
                    <a:pt x="345" y="692"/>
                  </a:cubicBezTo>
                  <a:cubicBezTo>
                    <a:pt x="329" y="678"/>
                    <a:pt x="323" y="661"/>
                    <a:pt x="323" y="631"/>
                  </a:cubicBezTo>
                  <a:cubicBezTo>
                    <a:pt x="323" y="619"/>
                    <a:pt x="323" y="605"/>
                    <a:pt x="331" y="592"/>
                  </a:cubicBezTo>
                  <a:close/>
                  <a:moveTo>
                    <a:pt x="1073" y="259"/>
                  </a:moveTo>
                  <a:cubicBezTo>
                    <a:pt x="1073" y="269"/>
                    <a:pt x="1075" y="272"/>
                    <a:pt x="1086" y="272"/>
                  </a:cubicBezTo>
                  <a:cubicBezTo>
                    <a:pt x="1088" y="272"/>
                    <a:pt x="1090" y="272"/>
                    <a:pt x="1092" y="272"/>
                  </a:cubicBezTo>
                  <a:cubicBezTo>
                    <a:pt x="1105" y="272"/>
                    <a:pt x="1106" y="271"/>
                    <a:pt x="1106" y="258"/>
                  </a:cubicBezTo>
                  <a:cubicBezTo>
                    <a:pt x="1106" y="221"/>
                    <a:pt x="1106" y="184"/>
                    <a:pt x="1106" y="147"/>
                  </a:cubicBezTo>
                  <a:cubicBezTo>
                    <a:pt x="1106" y="143"/>
                    <a:pt x="1106" y="140"/>
                    <a:pt x="1107" y="137"/>
                  </a:cubicBezTo>
                  <a:cubicBezTo>
                    <a:pt x="1117" y="117"/>
                    <a:pt x="1157" y="104"/>
                    <a:pt x="1177" y="114"/>
                  </a:cubicBezTo>
                  <a:cubicBezTo>
                    <a:pt x="1179" y="115"/>
                    <a:pt x="1180" y="117"/>
                    <a:pt x="1182" y="118"/>
                  </a:cubicBezTo>
                  <a:cubicBezTo>
                    <a:pt x="1194" y="131"/>
                    <a:pt x="1196" y="147"/>
                    <a:pt x="1196" y="163"/>
                  </a:cubicBezTo>
                  <a:cubicBezTo>
                    <a:pt x="1197" y="195"/>
                    <a:pt x="1196" y="226"/>
                    <a:pt x="1196" y="258"/>
                  </a:cubicBezTo>
                  <a:cubicBezTo>
                    <a:pt x="1196" y="271"/>
                    <a:pt x="1197" y="272"/>
                    <a:pt x="1210" y="272"/>
                  </a:cubicBezTo>
                  <a:cubicBezTo>
                    <a:pt x="1212" y="272"/>
                    <a:pt x="1213" y="272"/>
                    <a:pt x="1215" y="272"/>
                  </a:cubicBezTo>
                  <a:cubicBezTo>
                    <a:pt x="1227" y="272"/>
                    <a:pt x="1229" y="270"/>
                    <a:pt x="1229" y="258"/>
                  </a:cubicBezTo>
                  <a:cubicBezTo>
                    <a:pt x="1229" y="222"/>
                    <a:pt x="1229" y="187"/>
                    <a:pt x="1229" y="151"/>
                  </a:cubicBezTo>
                  <a:cubicBezTo>
                    <a:pt x="1229" y="142"/>
                    <a:pt x="1228" y="132"/>
                    <a:pt x="1225" y="123"/>
                  </a:cubicBezTo>
                  <a:cubicBezTo>
                    <a:pt x="1219" y="105"/>
                    <a:pt x="1208" y="91"/>
                    <a:pt x="1189" y="85"/>
                  </a:cubicBezTo>
                  <a:cubicBezTo>
                    <a:pt x="1173" y="80"/>
                    <a:pt x="1156" y="84"/>
                    <a:pt x="1139" y="84"/>
                  </a:cubicBezTo>
                  <a:cubicBezTo>
                    <a:pt x="1137" y="84"/>
                    <a:pt x="1136" y="86"/>
                    <a:pt x="1134" y="87"/>
                  </a:cubicBezTo>
                  <a:cubicBezTo>
                    <a:pt x="1128" y="91"/>
                    <a:pt x="1121" y="96"/>
                    <a:pt x="1115" y="100"/>
                  </a:cubicBezTo>
                  <a:cubicBezTo>
                    <a:pt x="1113" y="102"/>
                    <a:pt x="1111" y="105"/>
                    <a:pt x="1108" y="103"/>
                  </a:cubicBezTo>
                  <a:cubicBezTo>
                    <a:pt x="1105" y="102"/>
                    <a:pt x="1106" y="98"/>
                    <a:pt x="1106" y="96"/>
                  </a:cubicBezTo>
                  <a:cubicBezTo>
                    <a:pt x="1106" y="69"/>
                    <a:pt x="1106" y="43"/>
                    <a:pt x="1106" y="17"/>
                  </a:cubicBezTo>
                  <a:cubicBezTo>
                    <a:pt x="1106" y="0"/>
                    <a:pt x="1106" y="0"/>
                    <a:pt x="1089" y="0"/>
                  </a:cubicBezTo>
                  <a:cubicBezTo>
                    <a:pt x="1074" y="0"/>
                    <a:pt x="1073" y="1"/>
                    <a:pt x="1073" y="16"/>
                  </a:cubicBezTo>
                  <a:cubicBezTo>
                    <a:pt x="1073" y="56"/>
                    <a:pt x="1073" y="96"/>
                    <a:pt x="1073" y="136"/>
                  </a:cubicBezTo>
                  <a:cubicBezTo>
                    <a:pt x="1073" y="177"/>
                    <a:pt x="1073" y="218"/>
                    <a:pt x="1073" y="259"/>
                  </a:cubicBezTo>
                  <a:close/>
                  <a:moveTo>
                    <a:pt x="1150" y="1092"/>
                  </a:moveTo>
                  <a:cubicBezTo>
                    <a:pt x="1168" y="1092"/>
                    <a:pt x="1186" y="1092"/>
                    <a:pt x="1204" y="1092"/>
                  </a:cubicBezTo>
                  <a:cubicBezTo>
                    <a:pt x="1215" y="1092"/>
                    <a:pt x="1218" y="1087"/>
                    <a:pt x="1219" y="1077"/>
                  </a:cubicBezTo>
                  <a:cubicBezTo>
                    <a:pt x="1220" y="1062"/>
                    <a:pt x="1216" y="1049"/>
                    <a:pt x="1210" y="1036"/>
                  </a:cubicBezTo>
                  <a:cubicBezTo>
                    <a:pt x="1204" y="1020"/>
                    <a:pt x="1193" y="1008"/>
                    <a:pt x="1177" y="1001"/>
                  </a:cubicBezTo>
                  <a:cubicBezTo>
                    <a:pt x="1155" y="992"/>
                    <a:pt x="1133" y="991"/>
                    <a:pt x="1109" y="999"/>
                  </a:cubicBezTo>
                  <a:cubicBezTo>
                    <a:pt x="1079" y="1010"/>
                    <a:pt x="1062" y="1031"/>
                    <a:pt x="1056" y="1061"/>
                  </a:cubicBezTo>
                  <a:cubicBezTo>
                    <a:pt x="1051" y="1090"/>
                    <a:pt x="1052" y="1120"/>
                    <a:pt x="1069" y="1148"/>
                  </a:cubicBezTo>
                  <a:cubicBezTo>
                    <a:pt x="1081" y="1169"/>
                    <a:pt x="1100" y="1180"/>
                    <a:pt x="1122" y="1185"/>
                  </a:cubicBezTo>
                  <a:cubicBezTo>
                    <a:pt x="1149" y="1190"/>
                    <a:pt x="1176" y="1186"/>
                    <a:pt x="1200" y="1171"/>
                  </a:cubicBezTo>
                  <a:cubicBezTo>
                    <a:pt x="1206" y="1168"/>
                    <a:pt x="1213" y="1165"/>
                    <a:pt x="1214" y="1157"/>
                  </a:cubicBezTo>
                  <a:cubicBezTo>
                    <a:pt x="1215" y="1147"/>
                    <a:pt x="1202" y="1139"/>
                    <a:pt x="1193" y="1144"/>
                  </a:cubicBezTo>
                  <a:cubicBezTo>
                    <a:pt x="1187" y="1147"/>
                    <a:pt x="1180" y="1150"/>
                    <a:pt x="1174" y="1153"/>
                  </a:cubicBezTo>
                  <a:cubicBezTo>
                    <a:pt x="1158" y="1161"/>
                    <a:pt x="1140" y="1161"/>
                    <a:pt x="1124" y="1155"/>
                  </a:cubicBezTo>
                  <a:cubicBezTo>
                    <a:pt x="1112" y="1151"/>
                    <a:pt x="1102" y="1142"/>
                    <a:pt x="1096" y="1129"/>
                  </a:cubicBezTo>
                  <a:cubicBezTo>
                    <a:pt x="1092" y="1121"/>
                    <a:pt x="1091" y="1112"/>
                    <a:pt x="1089" y="1104"/>
                  </a:cubicBezTo>
                  <a:cubicBezTo>
                    <a:pt x="1087" y="1093"/>
                    <a:pt x="1087" y="1092"/>
                    <a:pt x="1099" y="1092"/>
                  </a:cubicBezTo>
                  <a:cubicBezTo>
                    <a:pt x="1116" y="1092"/>
                    <a:pt x="1133" y="1092"/>
                    <a:pt x="1150" y="1092"/>
                  </a:cubicBezTo>
                  <a:cubicBezTo>
                    <a:pt x="1150" y="1092"/>
                    <a:pt x="1150" y="1092"/>
                    <a:pt x="1150" y="1092"/>
                  </a:cubicBezTo>
                  <a:close/>
                  <a:moveTo>
                    <a:pt x="1099" y="1070"/>
                  </a:moveTo>
                  <a:cubicBezTo>
                    <a:pt x="1092" y="1071"/>
                    <a:pt x="1089" y="1067"/>
                    <a:pt x="1091" y="1060"/>
                  </a:cubicBezTo>
                  <a:cubicBezTo>
                    <a:pt x="1094" y="1045"/>
                    <a:pt x="1108" y="1023"/>
                    <a:pt x="1128" y="1022"/>
                  </a:cubicBezTo>
                  <a:cubicBezTo>
                    <a:pt x="1142" y="1021"/>
                    <a:pt x="1156" y="1018"/>
                    <a:pt x="1168" y="1029"/>
                  </a:cubicBezTo>
                  <a:cubicBezTo>
                    <a:pt x="1181" y="1038"/>
                    <a:pt x="1185" y="1051"/>
                    <a:pt x="1187" y="1066"/>
                  </a:cubicBezTo>
                  <a:cubicBezTo>
                    <a:pt x="1188" y="1071"/>
                    <a:pt x="1183" y="1070"/>
                    <a:pt x="1180" y="1070"/>
                  </a:cubicBezTo>
                  <a:cubicBezTo>
                    <a:pt x="1166" y="1070"/>
                    <a:pt x="1153" y="1070"/>
                    <a:pt x="1139" y="1070"/>
                  </a:cubicBezTo>
                  <a:cubicBezTo>
                    <a:pt x="1139" y="1070"/>
                    <a:pt x="1139" y="1070"/>
                    <a:pt x="1139" y="1070"/>
                  </a:cubicBezTo>
                  <a:cubicBezTo>
                    <a:pt x="1126" y="1070"/>
                    <a:pt x="1113" y="1070"/>
                    <a:pt x="1099" y="1070"/>
                  </a:cubicBezTo>
                  <a:close/>
                  <a:moveTo>
                    <a:pt x="1741" y="1092"/>
                  </a:moveTo>
                  <a:cubicBezTo>
                    <a:pt x="1759" y="1092"/>
                    <a:pt x="1776" y="1092"/>
                    <a:pt x="1793" y="1092"/>
                  </a:cubicBezTo>
                  <a:cubicBezTo>
                    <a:pt x="1806" y="1092"/>
                    <a:pt x="1808" y="1089"/>
                    <a:pt x="1808" y="1076"/>
                  </a:cubicBezTo>
                  <a:cubicBezTo>
                    <a:pt x="1809" y="1063"/>
                    <a:pt x="1807" y="1051"/>
                    <a:pt x="1802" y="1038"/>
                  </a:cubicBezTo>
                  <a:cubicBezTo>
                    <a:pt x="1794" y="1021"/>
                    <a:pt x="1782" y="1008"/>
                    <a:pt x="1764" y="1000"/>
                  </a:cubicBezTo>
                  <a:cubicBezTo>
                    <a:pt x="1742" y="991"/>
                    <a:pt x="1720" y="991"/>
                    <a:pt x="1698" y="1000"/>
                  </a:cubicBezTo>
                  <a:cubicBezTo>
                    <a:pt x="1681" y="1006"/>
                    <a:pt x="1668" y="1016"/>
                    <a:pt x="1659" y="1031"/>
                  </a:cubicBezTo>
                  <a:cubicBezTo>
                    <a:pt x="1646" y="1050"/>
                    <a:pt x="1643" y="1071"/>
                    <a:pt x="1644" y="1094"/>
                  </a:cubicBezTo>
                  <a:cubicBezTo>
                    <a:pt x="1644" y="1110"/>
                    <a:pt x="1647" y="1127"/>
                    <a:pt x="1655" y="1141"/>
                  </a:cubicBezTo>
                  <a:cubicBezTo>
                    <a:pt x="1669" y="1168"/>
                    <a:pt x="1691" y="1183"/>
                    <a:pt x="1722" y="1186"/>
                  </a:cubicBezTo>
                  <a:cubicBezTo>
                    <a:pt x="1750" y="1188"/>
                    <a:pt x="1775" y="1183"/>
                    <a:pt x="1798" y="1165"/>
                  </a:cubicBezTo>
                  <a:cubicBezTo>
                    <a:pt x="1803" y="1161"/>
                    <a:pt x="1806" y="1157"/>
                    <a:pt x="1802" y="1151"/>
                  </a:cubicBezTo>
                  <a:cubicBezTo>
                    <a:pt x="1798" y="1144"/>
                    <a:pt x="1791" y="1140"/>
                    <a:pt x="1783" y="1144"/>
                  </a:cubicBezTo>
                  <a:cubicBezTo>
                    <a:pt x="1778" y="1147"/>
                    <a:pt x="1771" y="1149"/>
                    <a:pt x="1766" y="1152"/>
                  </a:cubicBezTo>
                  <a:cubicBezTo>
                    <a:pt x="1749" y="1161"/>
                    <a:pt x="1730" y="1162"/>
                    <a:pt x="1714" y="1155"/>
                  </a:cubicBezTo>
                  <a:cubicBezTo>
                    <a:pt x="1692" y="1145"/>
                    <a:pt x="1680" y="1127"/>
                    <a:pt x="1679" y="1102"/>
                  </a:cubicBezTo>
                  <a:cubicBezTo>
                    <a:pt x="1678" y="1095"/>
                    <a:pt x="1681" y="1092"/>
                    <a:pt x="1689" y="1092"/>
                  </a:cubicBezTo>
                  <a:cubicBezTo>
                    <a:pt x="1706" y="1092"/>
                    <a:pt x="1724" y="1092"/>
                    <a:pt x="1741" y="1092"/>
                  </a:cubicBezTo>
                  <a:cubicBezTo>
                    <a:pt x="1741" y="1092"/>
                    <a:pt x="1741" y="1092"/>
                    <a:pt x="1741" y="1092"/>
                  </a:cubicBezTo>
                  <a:close/>
                  <a:moveTo>
                    <a:pt x="1690" y="1070"/>
                  </a:moveTo>
                  <a:cubicBezTo>
                    <a:pt x="1683" y="1071"/>
                    <a:pt x="1680" y="1068"/>
                    <a:pt x="1681" y="1062"/>
                  </a:cubicBezTo>
                  <a:cubicBezTo>
                    <a:pt x="1683" y="1048"/>
                    <a:pt x="1697" y="1024"/>
                    <a:pt x="1716" y="1022"/>
                  </a:cubicBezTo>
                  <a:cubicBezTo>
                    <a:pt x="1731" y="1020"/>
                    <a:pt x="1747" y="1018"/>
                    <a:pt x="1760" y="1030"/>
                  </a:cubicBezTo>
                  <a:cubicBezTo>
                    <a:pt x="1771" y="1038"/>
                    <a:pt x="1775" y="1050"/>
                    <a:pt x="1778" y="1062"/>
                  </a:cubicBezTo>
                  <a:cubicBezTo>
                    <a:pt x="1780" y="1068"/>
                    <a:pt x="1775" y="1070"/>
                    <a:pt x="1769" y="1070"/>
                  </a:cubicBezTo>
                  <a:cubicBezTo>
                    <a:pt x="1756" y="1070"/>
                    <a:pt x="1742" y="1070"/>
                    <a:pt x="1729" y="1070"/>
                  </a:cubicBezTo>
                  <a:cubicBezTo>
                    <a:pt x="1729" y="1070"/>
                    <a:pt x="1729" y="1070"/>
                    <a:pt x="1729" y="1070"/>
                  </a:cubicBezTo>
                  <a:cubicBezTo>
                    <a:pt x="1716" y="1070"/>
                    <a:pt x="1703" y="1070"/>
                    <a:pt x="1690" y="1070"/>
                  </a:cubicBezTo>
                  <a:close/>
                  <a:moveTo>
                    <a:pt x="68" y="581"/>
                  </a:moveTo>
                  <a:cubicBezTo>
                    <a:pt x="68" y="573"/>
                    <a:pt x="70" y="568"/>
                    <a:pt x="80" y="569"/>
                  </a:cubicBezTo>
                  <a:cubicBezTo>
                    <a:pt x="90" y="570"/>
                    <a:pt x="101" y="570"/>
                    <a:pt x="111" y="569"/>
                  </a:cubicBezTo>
                  <a:cubicBezTo>
                    <a:pt x="120" y="569"/>
                    <a:pt x="120" y="563"/>
                    <a:pt x="120" y="556"/>
                  </a:cubicBezTo>
                  <a:cubicBezTo>
                    <a:pt x="120" y="549"/>
                    <a:pt x="119" y="544"/>
                    <a:pt x="111" y="544"/>
                  </a:cubicBezTo>
                  <a:cubicBezTo>
                    <a:pt x="104" y="544"/>
                    <a:pt x="97" y="544"/>
                    <a:pt x="91" y="544"/>
                  </a:cubicBezTo>
                  <a:cubicBezTo>
                    <a:pt x="66" y="544"/>
                    <a:pt x="65" y="543"/>
                    <a:pt x="68" y="518"/>
                  </a:cubicBezTo>
                  <a:cubicBezTo>
                    <a:pt x="69" y="504"/>
                    <a:pt x="83" y="487"/>
                    <a:pt x="99" y="489"/>
                  </a:cubicBezTo>
                  <a:cubicBezTo>
                    <a:pt x="103" y="489"/>
                    <a:pt x="107" y="489"/>
                    <a:pt x="110" y="488"/>
                  </a:cubicBezTo>
                  <a:cubicBezTo>
                    <a:pt x="118" y="487"/>
                    <a:pt x="123" y="479"/>
                    <a:pt x="123" y="471"/>
                  </a:cubicBezTo>
                  <a:cubicBezTo>
                    <a:pt x="123" y="461"/>
                    <a:pt x="116" y="462"/>
                    <a:pt x="109" y="460"/>
                  </a:cubicBezTo>
                  <a:cubicBezTo>
                    <a:pt x="100" y="458"/>
                    <a:pt x="92" y="460"/>
                    <a:pt x="84" y="460"/>
                  </a:cubicBezTo>
                  <a:cubicBezTo>
                    <a:pt x="68" y="461"/>
                    <a:pt x="56" y="469"/>
                    <a:pt x="47" y="480"/>
                  </a:cubicBezTo>
                  <a:cubicBezTo>
                    <a:pt x="34" y="493"/>
                    <a:pt x="32" y="511"/>
                    <a:pt x="32" y="529"/>
                  </a:cubicBezTo>
                  <a:cubicBezTo>
                    <a:pt x="32" y="544"/>
                    <a:pt x="32" y="544"/>
                    <a:pt x="17" y="544"/>
                  </a:cubicBezTo>
                  <a:cubicBezTo>
                    <a:pt x="4" y="543"/>
                    <a:pt x="0" y="548"/>
                    <a:pt x="4" y="561"/>
                  </a:cubicBezTo>
                  <a:cubicBezTo>
                    <a:pt x="6" y="569"/>
                    <a:pt x="13" y="568"/>
                    <a:pt x="19" y="569"/>
                  </a:cubicBezTo>
                  <a:cubicBezTo>
                    <a:pt x="32" y="571"/>
                    <a:pt x="32" y="571"/>
                    <a:pt x="32" y="584"/>
                  </a:cubicBezTo>
                  <a:cubicBezTo>
                    <a:pt x="32" y="624"/>
                    <a:pt x="32" y="664"/>
                    <a:pt x="32" y="704"/>
                  </a:cubicBezTo>
                  <a:cubicBezTo>
                    <a:pt x="32" y="731"/>
                    <a:pt x="32" y="730"/>
                    <a:pt x="57" y="731"/>
                  </a:cubicBezTo>
                  <a:cubicBezTo>
                    <a:pt x="66" y="731"/>
                    <a:pt x="68" y="727"/>
                    <a:pt x="68" y="720"/>
                  </a:cubicBezTo>
                  <a:cubicBezTo>
                    <a:pt x="68" y="697"/>
                    <a:pt x="68" y="674"/>
                    <a:pt x="68" y="651"/>
                  </a:cubicBezTo>
                  <a:cubicBezTo>
                    <a:pt x="68" y="628"/>
                    <a:pt x="68" y="605"/>
                    <a:pt x="68" y="581"/>
                  </a:cubicBezTo>
                  <a:close/>
                  <a:moveTo>
                    <a:pt x="278" y="1165"/>
                  </a:moveTo>
                  <a:cubicBezTo>
                    <a:pt x="278" y="1183"/>
                    <a:pt x="278" y="1183"/>
                    <a:pt x="296" y="1184"/>
                  </a:cubicBezTo>
                  <a:cubicBezTo>
                    <a:pt x="310" y="1184"/>
                    <a:pt x="310" y="1184"/>
                    <a:pt x="310" y="1169"/>
                  </a:cubicBezTo>
                  <a:cubicBezTo>
                    <a:pt x="310" y="1132"/>
                    <a:pt x="310" y="1095"/>
                    <a:pt x="310" y="1058"/>
                  </a:cubicBezTo>
                  <a:cubicBezTo>
                    <a:pt x="310" y="1052"/>
                    <a:pt x="312" y="1047"/>
                    <a:pt x="316" y="1042"/>
                  </a:cubicBezTo>
                  <a:cubicBezTo>
                    <a:pt x="324" y="1033"/>
                    <a:pt x="334" y="1027"/>
                    <a:pt x="345" y="1024"/>
                  </a:cubicBezTo>
                  <a:cubicBezTo>
                    <a:pt x="357" y="1020"/>
                    <a:pt x="371" y="1018"/>
                    <a:pt x="383" y="1028"/>
                  </a:cubicBezTo>
                  <a:cubicBezTo>
                    <a:pt x="397" y="1039"/>
                    <a:pt x="401" y="1054"/>
                    <a:pt x="401" y="1071"/>
                  </a:cubicBezTo>
                  <a:cubicBezTo>
                    <a:pt x="401" y="1102"/>
                    <a:pt x="401" y="1132"/>
                    <a:pt x="401" y="1163"/>
                  </a:cubicBezTo>
                  <a:cubicBezTo>
                    <a:pt x="401" y="1183"/>
                    <a:pt x="401" y="1182"/>
                    <a:pt x="420" y="1184"/>
                  </a:cubicBezTo>
                  <a:cubicBezTo>
                    <a:pt x="429" y="1185"/>
                    <a:pt x="433" y="1181"/>
                    <a:pt x="433" y="1173"/>
                  </a:cubicBezTo>
                  <a:cubicBezTo>
                    <a:pt x="432" y="1130"/>
                    <a:pt x="435" y="1087"/>
                    <a:pt x="431" y="1044"/>
                  </a:cubicBezTo>
                  <a:cubicBezTo>
                    <a:pt x="427" y="1014"/>
                    <a:pt x="404" y="996"/>
                    <a:pt x="376" y="994"/>
                  </a:cubicBezTo>
                  <a:cubicBezTo>
                    <a:pt x="353" y="992"/>
                    <a:pt x="333" y="1000"/>
                    <a:pt x="317" y="1017"/>
                  </a:cubicBezTo>
                  <a:cubicBezTo>
                    <a:pt x="312" y="1021"/>
                    <a:pt x="311" y="1019"/>
                    <a:pt x="309" y="1015"/>
                  </a:cubicBezTo>
                  <a:cubicBezTo>
                    <a:pt x="309" y="1013"/>
                    <a:pt x="308" y="1011"/>
                    <a:pt x="308" y="1008"/>
                  </a:cubicBezTo>
                  <a:cubicBezTo>
                    <a:pt x="306" y="1001"/>
                    <a:pt x="298" y="997"/>
                    <a:pt x="287" y="998"/>
                  </a:cubicBezTo>
                  <a:cubicBezTo>
                    <a:pt x="279" y="999"/>
                    <a:pt x="278" y="1004"/>
                    <a:pt x="278" y="1011"/>
                  </a:cubicBezTo>
                  <a:cubicBezTo>
                    <a:pt x="278" y="1037"/>
                    <a:pt x="278" y="1064"/>
                    <a:pt x="278" y="1091"/>
                  </a:cubicBezTo>
                  <a:cubicBezTo>
                    <a:pt x="278" y="1115"/>
                    <a:pt x="278" y="1140"/>
                    <a:pt x="278" y="1165"/>
                  </a:cubicBezTo>
                  <a:close/>
                  <a:moveTo>
                    <a:pt x="150" y="705"/>
                  </a:moveTo>
                  <a:cubicBezTo>
                    <a:pt x="150" y="734"/>
                    <a:pt x="145" y="730"/>
                    <a:pt x="176" y="731"/>
                  </a:cubicBezTo>
                  <a:cubicBezTo>
                    <a:pt x="185" y="731"/>
                    <a:pt x="187" y="727"/>
                    <a:pt x="187" y="719"/>
                  </a:cubicBezTo>
                  <a:cubicBezTo>
                    <a:pt x="187" y="685"/>
                    <a:pt x="187" y="651"/>
                    <a:pt x="187" y="618"/>
                  </a:cubicBezTo>
                  <a:cubicBezTo>
                    <a:pt x="187" y="597"/>
                    <a:pt x="204" y="578"/>
                    <a:pt x="225" y="574"/>
                  </a:cubicBezTo>
                  <a:cubicBezTo>
                    <a:pt x="232" y="572"/>
                    <a:pt x="240" y="574"/>
                    <a:pt x="247" y="575"/>
                  </a:cubicBezTo>
                  <a:cubicBezTo>
                    <a:pt x="257" y="576"/>
                    <a:pt x="261" y="572"/>
                    <a:pt x="265" y="564"/>
                  </a:cubicBezTo>
                  <a:cubicBezTo>
                    <a:pt x="269" y="556"/>
                    <a:pt x="267" y="542"/>
                    <a:pt x="261" y="540"/>
                  </a:cubicBezTo>
                  <a:cubicBezTo>
                    <a:pt x="253" y="538"/>
                    <a:pt x="244" y="534"/>
                    <a:pt x="237" y="536"/>
                  </a:cubicBezTo>
                  <a:cubicBezTo>
                    <a:pt x="228" y="537"/>
                    <a:pt x="217" y="537"/>
                    <a:pt x="209" y="544"/>
                  </a:cubicBezTo>
                  <a:cubicBezTo>
                    <a:pt x="204" y="549"/>
                    <a:pt x="198" y="553"/>
                    <a:pt x="194" y="558"/>
                  </a:cubicBezTo>
                  <a:cubicBezTo>
                    <a:pt x="192" y="561"/>
                    <a:pt x="189" y="563"/>
                    <a:pt x="185" y="562"/>
                  </a:cubicBezTo>
                  <a:cubicBezTo>
                    <a:pt x="182" y="561"/>
                    <a:pt x="182" y="558"/>
                    <a:pt x="182" y="556"/>
                  </a:cubicBezTo>
                  <a:cubicBezTo>
                    <a:pt x="180" y="539"/>
                    <a:pt x="179" y="539"/>
                    <a:pt x="162" y="539"/>
                  </a:cubicBezTo>
                  <a:cubicBezTo>
                    <a:pt x="151" y="539"/>
                    <a:pt x="150" y="540"/>
                    <a:pt x="150" y="551"/>
                  </a:cubicBezTo>
                  <a:cubicBezTo>
                    <a:pt x="150" y="579"/>
                    <a:pt x="150" y="607"/>
                    <a:pt x="150" y="635"/>
                  </a:cubicBezTo>
                  <a:cubicBezTo>
                    <a:pt x="150" y="658"/>
                    <a:pt x="149" y="682"/>
                    <a:pt x="150" y="705"/>
                  </a:cubicBezTo>
                  <a:close/>
                  <a:moveTo>
                    <a:pt x="1011" y="1049"/>
                  </a:moveTo>
                  <a:cubicBezTo>
                    <a:pt x="1011" y="1008"/>
                    <a:pt x="1011" y="966"/>
                    <a:pt x="1011" y="924"/>
                  </a:cubicBezTo>
                  <a:cubicBezTo>
                    <a:pt x="1011" y="913"/>
                    <a:pt x="1008" y="910"/>
                    <a:pt x="997" y="910"/>
                  </a:cubicBezTo>
                  <a:cubicBezTo>
                    <a:pt x="995" y="910"/>
                    <a:pt x="992" y="910"/>
                    <a:pt x="990" y="910"/>
                  </a:cubicBezTo>
                  <a:cubicBezTo>
                    <a:pt x="976" y="910"/>
                    <a:pt x="975" y="911"/>
                    <a:pt x="975" y="926"/>
                  </a:cubicBezTo>
                  <a:cubicBezTo>
                    <a:pt x="975" y="1006"/>
                    <a:pt x="975" y="1085"/>
                    <a:pt x="975" y="1165"/>
                  </a:cubicBezTo>
                  <a:cubicBezTo>
                    <a:pt x="975" y="1185"/>
                    <a:pt x="975" y="1185"/>
                    <a:pt x="994" y="1185"/>
                  </a:cubicBezTo>
                  <a:cubicBezTo>
                    <a:pt x="1009" y="1185"/>
                    <a:pt x="1011" y="1184"/>
                    <a:pt x="1011" y="1169"/>
                  </a:cubicBezTo>
                  <a:cubicBezTo>
                    <a:pt x="1011" y="1129"/>
                    <a:pt x="1011" y="1089"/>
                    <a:pt x="1011" y="1049"/>
                  </a:cubicBezTo>
                  <a:cubicBezTo>
                    <a:pt x="1011" y="1049"/>
                    <a:pt x="1011" y="1049"/>
                    <a:pt x="1011" y="1049"/>
                  </a:cubicBezTo>
                  <a:close/>
                  <a:moveTo>
                    <a:pt x="296" y="176"/>
                  </a:moveTo>
                  <a:cubicBezTo>
                    <a:pt x="296" y="201"/>
                    <a:pt x="296" y="226"/>
                    <a:pt x="296" y="251"/>
                  </a:cubicBezTo>
                  <a:cubicBezTo>
                    <a:pt x="295" y="276"/>
                    <a:pt x="296" y="274"/>
                    <a:pt x="318" y="274"/>
                  </a:cubicBezTo>
                  <a:cubicBezTo>
                    <a:pt x="330" y="274"/>
                    <a:pt x="331" y="274"/>
                    <a:pt x="331" y="260"/>
                  </a:cubicBezTo>
                  <a:cubicBezTo>
                    <a:pt x="331" y="232"/>
                    <a:pt x="331" y="204"/>
                    <a:pt x="331" y="176"/>
                  </a:cubicBezTo>
                  <a:cubicBezTo>
                    <a:pt x="331" y="165"/>
                    <a:pt x="331" y="155"/>
                    <a:pt x="337" y="145"/>
                  </a:cubicBezTo>
                  <a:cubicBezTo>
                    <a:pt x="349" y="123"/>
                    <a:pt x="359" y="117"/>
                    <a:pt x="377" y="118"/>
                  </a:cubicBezTo>
                  <a:cubicBezTo>
                    <a:pt x="383" y="118"/>
                    <a:pt x="389" y="119"/>
                    <a:pt x="395" y="120"/>
                  </a:cubicBezTo>
                  <a:cubicBezTo>
                    <a:pt x="401" y="120"/>
                    <a:pt x="407" y="118"/>
                    <a:pt x="408" y="112"/>
                  </a:cubicBezTo>
                  <a:cubicBezTo>
                    <a:pt x="409" y="103"/>
                    <a:pt x="415" y="93"/>
                    <a:pt x="407" y="85"/>
                  </a:cubicBezTo>
                  <a:cubicBezTo>
                    <a:pt x="406" y="84"/>
                    <a:pt x="404" y="84"/>
                    <a:pt x="402" y="84"/>
                  </a:cubicBezTo>
                  <a:cubicBezTo>
                    <a:pt x="376" y="78"/>
                    <a:pt x="353" y="82"/>
                    <a:pt x="337" y="106"/>
                  </a:cubicBezTo>
                  <a:cubicBezTo>
                    <a:pt x="336" y="108"/>
                    <a:pt x="335" y="110"/>
                    <a:pt x="333" y="109"/>
                  </a:cubicBezTo>
                  <a:cubicBezTo>
                    <a:pt x="331" y="109"/>
                    <a:pt x="330" y="107"/>
                    <a:pt x="330" y="105"/>
                  </a:cubicBezTo>
                  <a:cubicBezTo>
                    <a:pt x="329" y="101"/>
                    <a:pt x="329" y="97"/>
                    <a:pt x="328" y="94"/>
                  </a:cubicBezTo>
                  <a:cubicBezTo>
                    <a:pt x="325" y="85"/>
                    <a:pt x="318" y="82"/>
                    <a:pt x="303" y="84"/>
                  </a:cubicBezTo>
                  <a:cubicBezTo>
                    <a:pt x="297" y="84"/>
                    <a:pt x="295" y="86"/>
                    <a:pt x="295" y="92"/>
                  </a:cubicBezTo>
                  <a:cubicBezTo>
                    <a:pt x="296" y="120"/>
                    <a:pt x="295" y="148"/>
                    <a:pt x="295" y="176"/>
                  </a:cubicBezTo>
                  <a:cubicBezTo>
                    <a:pt x="296" y="176"/>
                    <a:pt x="296" y="176"/>
                    <a:pt x="296" y="176"/>
                  </a:cubicBezTo>
                  <a:close/>
                  <a:moveTo>
                    <a:pt x="946" y="179"/>
                  </a:moveTo>
                  <a:cubicBezTo>
                    <a:pt x="946" y="197"/>
                    <a:pt x="946" y="215"/>
                    <a:pt x="946" y="234"/>
                  </a:cubicBezTo>
                  <a:cubicBezTo>
                    <a:pt x="946" y="248"/>
                    <a:pt x="951" y="260"/>
                    <a:pt x="963" y="268"/>
                  </a:cubicBezTo>
                  <a:cubicBezTo>
                    <a:pt x="982" y="280"/>
                    <a:pt x="1011" y="277"/>
                    <a:pt x="1029" y="264"/>
                  </a:cubicBezTo>
                  <a:cubicBezTo>
                    <a:pt x="1036" y="259"/>
                    <a:pt x="1036" y="254"/>
                    <a:pt x="1032" y="248"/>
                  </a:cubicBezTo>
                  <a:cubicBezTo>
                    <a:pt x="1026" y="239"/>
                    <a:pt x="1020" y="238"/>
                    <a:pt x="1013" y="242"/>
                  </a:cubicBezTo>
                  <a:cubicBezTo>
                    <a:pt x="996" y="252"/>
                    <a:pt x="978" y="243"/>
                    <a:pt x="978" y="223"/>
                  </a:cubicBezTo>
                  <a:cubicBezTo>
                    <a:pt x="978" y="190"/>
                    <a:pt x="978" y="157"/>
                    <a:pt x="978" y="123"/>
                  </a:cubicBezTo>
                  <a:cubicBezTo>
                    <a:pt x="978" y="116"/>
                    <a:pt x="981" y="113"/>
                    <a:pt x="988" y="113"/>
                  </a:cubicBezTo>
                  <a:cubicBezTo>
                    <a:pt x="999" y="114"/>
                    <a:pt x="1011" y="113"/>
                    <a:pt x="1022" y="113"/>
                  </a:cubicBezTo>
                  <a:cubicBezTo>
                    <a:pt x="1028" y="113"/>
                    <a:pt x="1033" y="112"/>
                    <a:pt x="1033" y="104"/>
                  </a:cubicBezTo>
                  <a:cubicBezTo>
                    <a:pt x="1033" y="96"/>
                    <a:pt x="1032" y="90"/>
                    <a:pt x="1022" y="90"/>
                  </a:cubicBezTo>
                  <a:cubicBezTo>
                    <a:pt x="1011" y="90"/>
                    <a:pt x="1001" y="90"/>
                    <a:pt x="990" y="90"/>
                  </a:cubicBezTo>
                  <a:cubicBezTo>
                    <a:pt x="981" y="91"/>
                    <a:pt x="977" y="88"/>
                    <a:pt x="978" y="78"/>
                  </a:cubicBezTo>
                  <a:cubicBezTo>
                    <a:pt x="978" y="64"/>
                    <a:pt x="978" y="49"/>
                    <a:pt x="978" y="35"/>
                  </a:cubicBezTo>
                  <a:cubicBezTo>
                    <a:pt x="978" y="30"/>
                    <a:pt x="978" y="25"/>
                    <a:pt x="971" y="24"/>
                  </a:cubicBezTo>
                  <a:cubicBezTo>
                    <a:pt x="964" y="24"/>
                    <a:pt x="956" y="24"/>
                    <a:pt x="955" y="32"/>
                  </a:cubicBezTo>
                  <a:cubicBezTo>
                    <a:pt x="952" y="43"/>
                    <a:pt x="949" y="54"/>
                    <a:pt x="949" y="65"/>
                  </a:cubicBezTo>
                  <a:cubicBezTo>
                    <a:pt x="948" y="88"/>
                    <a:pt x="947" y="88"/>
                    <a:pt x="924" y="91"/>
                  </a:cubicBezTo>
                  <a:cubicBezTo>
                    <a:pt x="919" y="92"/>
                    <a:pt x="914" y="92"/>
                    <a:pt x="914" y="99"/>
                  </a:cubicBezTo>
                  <a:cubicBezTo>
                    <a:pt x="915" y="107"/>
                    <a:pt x="917" y="113"/>
                    <a:pt x="926" y="113"/>
                  </a:cubicBezTo>
                  <a:cubicBezTo>
                    <a:pt x="929" y="114"/>
                    <a:pt x="932" y="113"/>
                    <a:pt x="935" y="113"/>
                  </a:cubicBezTo>
                  <a:cubicBezTo>
                    <a:pt x="943" y="113"/>
                    <a:pt x="946" y="116"/>
                    <a:pt x="946" y="124"/>
                  </a:cubicBezTo>
                  <a:cubicBezTo>
                    <a:pt x="946" y="142"/>
                    <a:pt x="946" y="161"/>
                    <a:pt x="946" y="179"/>
                  </a:cubicBezTo>
                  <a:cubicBezTo>
                    <a:pt x="946" y="179"/>
                    <a:pt x="946" y="179"/>
                    <a:pt x="946" y="179"/>
                  </a:cubicBezTo>
                  <a:close/>
                </a:path>
              </a:pathLst>
            </a:custGeom>
            <a:solidFill>
              <a:srgbClr val="4C50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  <p:grpSp>
          <p:nvGrpSpPr>
            <p:cNvPr id="18" name="Group 4">
              <a:extLst>
                <a:ext uri="{FF2B5EF4-FFF2-40B4-BE49-F238E27FC236}">
                  <a16:creationId xmlns:a16="http://schemas.microsoft.com/office/drawing/2014/main" id="{57BD2C4C-DC67-B843-B26C-309622FC75F7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34963" y="296652"/>
              <a:ext cx="538094" cy="540000"/>
              <a:chOff x="2711" y="1027"/>
              <a:chExt cx="2258" cy="2266"/>
            </a:xfrm>
          </p:grpSpPr>
          <p:sp>
            <p:nvSpPr>
              <p:cNvPr id="19" name="AutoShape 3">
                <a:extLst>
                  <a:ext uri="{FF2B5EF4-FFF2-40B4-BE49-F238E27FC236}">
                    <a16:creationId xmlns:a16="http://schemas.microsoft.com/office/drawing/2014/main" id="{FE1DC41B-291E-574C-9F2C-874E70A4075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gray">
              <a:xfrm>
                <a:off x="2711" y="1027"/>
                <a:ext cx="2258" cy="22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0" name="Freeform 5">
                <a:extLst>
                  <a:ext uri="{FF2B5EF4-FFF2-40B4-BE49-F238E27FC236}">
                    <a16:creationId xmlns:a16="http://schemas.microsoft.com/office/drawing/2014/main" id="{D4B633C8-F761-C54B-9BD2-EB59D49A2D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09" y="1029"/>
                <a:ext cx="2260" cy="2262"/>
              </a:xfrm>
              <a:custGeom>
                <a:avLst/>
                <a:gdLst>
                  <a:gd name="T0" fmla="*/ 2260 w 2260"/>
                  <a:gd name="T1" fmla="*/ 0 h 2262"/>
                  <a:gd name="T2" fmla="*/ 1612 w 2260"/>
                  <a:gd name="T3" fmla="*/ 649 h 2262"/>
                  <a:gd name="T4" fmla="*/ 1612 w 2260"/>
                  <a:gd name="T5" fmla="*/ 649 h 2262"/>
                  <a:gd name="T6" fmla="*/ 2035 w 2260"/>
                  <a:gd name="T7" fmla="*/ 0 h 2262"/>
                  <a:gd name="T8" fmla="*/ 0 w 2260"/>
                  <a:gd name="T9" fmla="*/ 0 h 2262"/>
                  <a:gd name="T10" fmla="*/ 0 w 2260"/>
                  <a:gd name="T11" fmla="*/ 2262 h 2262"/>
                  <a:gd name="T12" fmla="*/ 2260 w 2260"/>
                  <a:gd name="T13" fmla="*/ 2262 h 2262"/>
                  <a:gd name="T14" fmla="*/ 2260 w 2260"/>
                  <a:gd name="T15" fmla="*/ 0 h 2262"/>
                  <a:gd name="T16" fmla="*/ 2260 w 2260"/>
                  <a:gd name="T17" fmla="*/ 0 h 2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60" h="2262">
                    <a:moveTo>
                      <a:pt x="2260" y="0"/>
                    </a:moveTo>
                    <a:lnTo>
                      <a:pt x="1612" y="649"/>
                    </a:lnTo>
                    <a:lnTo>
                      <a:pt x="1612" y="649"/>
                    </a:lnTo>
                    <a:lnTo>
                      <a:pt x="2035" y="0"/>
                    </a:lnTo>
                    <a:lnTo>
                      <a:pt x="0" y="0"/>
                    </a:lnTo>
                    <a:lnTo>
                      <a:pt x="0" y="2262"/>
                    </a:lnTo>
                    <a:lnTo>
                      <a:pt x="2260" y="2262"/>
                    </a:lnTo>
                    <a:lnTo>
                      <a:pt x="2260" y="0"/>
                    </a:lnTo>
                    <a:lnTo>
                      <a:pt x="2260" y="0"/>
                    </a:lnTo>
                    <a:close/>
                  </a:path>
                </a:pathLst>
              </a:custGeom>
              <a:solidFill>
                <a:srgbClr val="E55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1" name="Freeform 6">
                <a:extLst>
                  <a:ext uri="{FF2B5EF4-FFF2-40B4-BE49-F238E27FC236}">
                    <a16:creationId xmlns:a16="http://schemas.microsoft.com/office/drawing/2014/main" id="{B16BAAE4-1A41-C843-9754-490F7A1E127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623" y="1696"/>
                <a:ext cx="1167" cy="922"/>
              </a:xfrm>
              <a:custGeom>
                <a:avLst/>
                <a:gdLst>
                  <a:gd name="T0" fmla="*/ 411 w 580"/>
                  <a:gd name="T1" fmla="*/ 213 h 458"/>
                  <a:gd name="T2" fmla="*/ 570 w 580"/>
                  <a:gd name="T3" fmla="*/ 37 h 458"/>
                  <a:gd name="T4" fmla="*/ 580 w 580"/>
                  <a:gd name="T5" fmla="*/ 20 h 458"/>
                  <a:gd name="T6" fmla="*/ 545 w 580"/>
                  <a:gd name="T7" fmla="*/ 0 h 458"/>
                  <a:gd name="T8" fmla="*/ 519 w 580"/>
                  <a:gd name="T9" fmla="*/ 16 h 458"/>
                  <a:gd name="T10" fmla="*/ 344 w 580"/>
                  <a:gd name="T11" fmla="*/ 210 h 458"/>
                  <a:gd name="T12" fmla="*/ 334 w 580"/>
                  <a:gd name="T13" fmla="*/ 229 h 458"/>
                  <a:gd name="T14" fmla="*/ 344 w 580"/>
                  <a:gd name="T15" fmla="*/ 248 h 458"/>
                  <a:gd name="T16" fmla="*/ 519 w 580"/>
                  <a:gd name="T17" fmla="*/ 442 h 458"/>
                  <a:gd name="T18" fmla="*/ 545 w 580"/>
                  <a:gd name="T19" fmla="*/ 458 h 458"/>
                  <a:gd name="T20" fmla="*/ 580 w 580"/>
                  <a:gd name="T21" fmla="*/ 438 h 458"/>
                  <a:gd name="T22" fmla="*/ 570 w 580"/>
                  <a:gd name="T23" fmla="*/ 421 h 458"/>
                  <a:gd name="T24" fmla="*/ 411 w 580"/>
                  <a:gd name="T25" fmla="*/ 245 h 458"/>
                  <a:gd name="T26" fmla="*/ 399 w 580"/>
                  <a:gd name="T27" fmla="*/ 229 h 458"/>
                  <a:gd name="T28" fmla="*/ 411 w 580"/>
                  <a:gd name="T29" fmla="*/ 213 h 458"/>
                  <a:gd name="T30" fmla="*/ 252 w 580"/>
                  <a:gd name="T31" fmla="*/ 439 h 458"/>
                  <a:gd name="T32" fmla="*/ 281 w 580"/>
                  <a:gd name="T33" fmla="*/ 454 h 458"/>
                  <a:gd name="T34" fmla="*/ 309 w 580"/>
                  <a:gd name="T35" fmla="*/ 439 h 458"/>
                  <a:gd name="T36" fmla="*/ 309 w 580"/>
                  <a:gd name="T37" fmla="*/ 19 h 458"/>
                  <a:gd name="T38" fmla="*/ 281 w 580"/>
                  <a:gd name="T39" fmla="*/ 4 h 458"/>
                  <a:gd name="T40" fmla="*/ 252 w 580"/>
                  <a:gd name="T41" fmla="*/ 19 h 458"/>
                  <a:gd name="T42" fmla="*/ 252 w 580"/>
                  <a:gd name="T43" fmla="*/ 439 h 458"/>
                  <a:gd name="T44" fmla="*/ 0 w 580"/>
                  <a:gd name="T45" fmla="*/ 439 h 458"/>
                  <a:gd name="T46" fmla="*/ 28 w 580"/>
                  <a:gd name="T47" fmla="*/ 454 h 458"/>
                  <a:gd name="T48" fmla="*/ 56 w 580"/>
                  <a:gd name="T49" fmla="*/ 439 h 458"/>
                  <a:gd name="T50" fmla="*/ 56 w 580"/>
                  <a:gd name="T51" fmla="*/ 157 h 458"/>
                  <a:gd name="T52" fmla="*/ 165 w 580"/>
                  <a:gd name="T53" fmla="*/ 53 h 458"/>
                  <a:gd name="T54" fmla="*/ 180 w 580"/>
                  <a:gd name="T55" fmla="*/ 53 h 458"/>
                  <a:gd name="T56" fmla="*/ 196 w 580"/>
                  <a:gd name="T57" fmla="*/ 27 h 458"/>
                  <a:gd name="T58" fmla="*/ 154 w 580"/>
                  <a:gd name="T59" fmla="*/ 4 h 458"/>
                  <a:gd name="T60" fmla="*/ 0 w 580"/>
                  <a:gd name="T61" fmla="*/ 152 h 458"/>
                  <a:gd name="T62" fmla="*/ 0 w 580"/>
                  <a:gd name="T63" fmla="*/ 439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80" h="458">
                    <a:moveTo>
                      <a:pt x="411" y="213"/>
                    </a:moveTo>
                    <a:cubicBezTo>
                      <a:pt x="570" y="37"/>
                      <a:pt x="570" y="37"/>
                      <a:pt x="570" y="37"/>
                    </a:cubicBezTo>
                    <a:cubicBezTo>
                      <a:pt x="576" y="30"/>
                      <a:pt x="580" y="25"/>
                      <a:pt x="580" y="20"/>
                    </a:cubicBezTo>
                    <a:cubicBezTo>
                      <a:pt x="580" y="10"/>
                      <a:pt x="559" y="0"/>
                      <a:pt x="545" y="0"/>
                    </a:cubicBezTo>
                    <a:cubicBezTo>
                      <a:pt x="535" y="0"/>
                      <a:pt x="526" y="8"/>
                      <a:pt x="519" y="16"/>
                    </a:cubicBezTo>
                    <a:cubicBezTo>
                      <a:pt x="344" y="210"/>
                      <a:pt x="344" y="210"/>
                      <a:pt x="344" y="210"/>
                    </a:cubicBezTo>
                    <a:cubicBezTo>
                      <a:pt x="336" y="219"/>
                      <a:pt x="334" y="224"/>
                      <a:pt x="334" y="229"/>
                    </a:cubicBezTo>
                    <a:cubicBezTo>
                      <a:pt x="334" y="234"/>
                      <a:pt x="336" y="239"/>
                      <a:pt x="344" y="248"/>
                    </a:cubicBezTo>
                    <a:cubicBezTo>
                      <a:pt x="519" y="442"/>
                      <a:pt x="519" y="442"/>
                      <a:pt x="519" y="442"/>
                    </a:cubicBezTo>
                    <a:cubicBezTo>
                      <a:pt x="526" y="450"/>
                      <a:pt x="535" y="458"/>
                      <a:pt x="545" y="458"/>
                    </a:cubicBezTo>
                    <a:cubicBezTo>
                      <a:pt x="559" y="458"/>
                      <a:pt x="580" y="448"/>
                      <a:pt x="580" y="438"/>
                    </a:cubicBezTo>
                    <a:cubicBezTo>
                      <a:pt x="580" y="433"/>
                      <a:pt x="576" y="428"/>
                      <a:pt x="570" y="421"/>
                    </a:cubicBezTo>
                    <a:cubicBezTo>
                      <a:pt x="411" y="245"/>
                      <a:pt x="411" y="245"/>
                      <a:pt x="411" y="245"/>
                    </a:cubicBezTo>
                    <a:cubicBezTo>
                      <a:pt x="403" y="236"/>
                      <a:pt x="399" y="232"/>
                      <a:pt x="399" y="229"/>
                    </a:cubicBezTo>
                    <a:cubicBezTo>
                      <a:pt x="399" y="226"/>
                      <a:pt x="403" y="222"/>
                      <a:pt x="411" y="213"/>
                    </a:cubicBezTo>
                    <a:moveTo>
                      <a:pt x="252" y="439"/>
                    </a:moveTo>
                    <a:cubicBezTo>
                      <a:pt x="252" y="449"/>
                      <a:pt x="261" y="454"/>
                      <a:pt x="281" y="454"/>
                    </a:cubicBezTo>
                    <a:cubicBezTo>
                      <a:pt x="300" y="454"/>
                      <a:pt x="309" y="449"/>
                      <a:pt x="309" y="439"/>
                    </a:cubicBezTo>
                    <a:cubicBezTo>
                      <a:pt x="309" y="19"/>
                      <a:pt x="309" y="19"/>
                      <a:pt x="309" y="19"/>
                    </a:cubicBezTo>
                    <a:cubicBezTo>
                      <a:pt x="309" y="9"/>
                      <a:pt x="300" y="4"/>
                      <a:pt x="281" y="4"/>
                    </a:cubicBezTo>
                    <a:cubicBezTo>
                      <a:pt x="261" y="4"/>
                      <a:pt x="252" y="9"/>
                      <a:pt x="252" y="19"/>
                    </a:cubicBezTo>
                    <a:lnTo>
                      <a:pt x="252" y="439"/>
                    </a:lnTo>
                    <a:close/>
                    <a:moveTo>
                      <a:pt x="0" y="439"/>
                    </a:moveTo>
                    <a:cubicBezTo>
                      <a:pt x="0" y="449"/>
                      <a:pt x="8" y="454"/>
                      <a:pt x="28" y="454"/>
                    </a:cubicBezTo>
                    <a:cubicBezTo>
                      <a:pt x="48" y="454"/>
                      <a:pt x="56" y="449"/>
                      <a:pt x="56" y="439"/>
                    </a:cubicBezTo>
                    <a:cubicBezTo>
                      <a:pt x="56" y="157"/>
                      <a:pt x="56" y="157"/>
                      <a:pt x="56" y="157"/>
                    </a:cubicBezTo>
                    <a:cubicBezTo>
                      <a:pt x="56" y="83"/>
                      <a:pt x="85" y="53"/>
                      <a:pt x="165" y="53"/>
                    </a:cubicBezTo>
                    <a:cubicBezTo>
                      <a:pt x="180" y="53"/>
                      <a:pt x="180" y="53"/>
                      <a:pt x="180" y="53"/>
                    </a:cubicBezTo>
                    <a:cubicBezTo>
                      <a:pt x="192" y="53"/>
                      <a:pt x="196" y="43"/>
                      <a:pt x="196" y="27"/>
                    </a:cubicBezTo>
                    <a:cubicBezTo>
                      <a:pt x="196" y="8"/>
                      <a:pt x="185" y="4"/>
                      <a:pt x="154" y="4"/>
                    </a:cubicBezTo>
                    <a:cubicBezTo>
                      <a:pt x="64" y="4"/>
                      <a:pt x="0" y="43"/>
                      <a:pt x="0" y="152"/>
                    </a:cubicBezTo>
                    <a:lnTo>
                      <a:pt x="0" y="4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2" name="Freeform 7">
                <a:extLst>
                  <a:ext uri="{FF2B5EF4-FFF2-40B4-BE49-F238E27FC236}">
                    <a16:creationId xmlns:a16="http://schemas.microsoft.com/office/drawing/2014/main" id="{2F32DCBD-8628-F245-85CD-97686A20EC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80" y="1704"/>
                <a:ext cx="618" cy="916"/>
              </a:xfrm>
              <a:custGeom>
                <a:avLst/>
                <a:gdLst>
                  <a:gd name="T0" fmla="*/ 307 w 307"/>
                  <a:gd name="T1" fmla="*/ 405 h 455"/>
                  <a:gd name="T2" fmla="*/ 307 w 307"/>
                  <a:gd name="T3" fmla="*/ 244 h 455"/>
                  <a:gd name="T4" fmla="*/ 279 w 307"/>
                  <a:gd name="T5" fmla="*/ 229 h 455"/>
                  <a:gd name="T6" fmla="*/ 250 w 307"/>
                  <a:gd name="T7" fmla="*/ 244 h 455"/>
                  <a:gd name="T8" fmla="*/ 250 w 307"/>
                  <a:gd name="T9" fmla="*/ 378 h 455"/>
                  <a:gd name="T10" fmla="*/ 199 w 307"/>
                  <a:gd name="T11" fmla="*/ 408 h 455"/>
                  <a:gd name="T12" fmla="*/ 61 w 307"/>
                  <a:gd name="T13" fmla="*/ 231 h 455"/>
                  <a:gd name="T14" fmla="*/ 238 w 307"/>
                  <a:gd name="T15" fmla="*/ 49 h 455"/>
                  <a:gd name="T16" fmla="*/ 270 w 307"/>
                  <a:gd name="T17" fmla="*/ 49 h 455"/>
                  <a:gd name="T18" fmla="*/ 286 w 307"/>
                  <a:gd name="T19" fmla="*/ 23 h 455"/>
                  <a:gd name="T20" fmla="*/ 244 w 307"/>
                  <a:gd name="T21" fmla="*/ 0 h 455"/>
                  <a:gd name="T22" fmla="*/ 231 w 307"/>
                  <a:gd name="T23" fmla="*/ 0 h 455"/>
                  <a:gd name="T24" fmla="*/ 0 w 307"/>
                  <a:gd name="T25" fmla="*/ 232 h 455"/>
                  <a:gd name="T26" fmla="*/ 198 w 307"/>
                  <a:gd name="T27" fmla="*/ 455 h 455"/>
                  <a:gd name="T28" fmla="*/ 307 w 307"/>
                  <a:gd name="T29" fmla="*/ 40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7" h="455">
                    <a:moveTo>
                      <a:pt x="307" y="405"/>
                    </a:moveTo>
                    <a:cubicBezTo>
                      <a:pt x="307" y="244"/>
                      <a:pt x="307" y="244"/>
                      <a:pt x="307" y="244"/>
                    </a:cubicBezTo>
                    <a:cubicBezTo>
                      <a:pt x="307" y="234"/>
                      <a:pt x="298" y="229"/>
                      <a:pt x="279" y="229"/>
                    </a:cubicBezTo>
                    <a:cubicBezTo>
                      <a:pt x="259" y="229"/>
                      <a:pt x="250" y="234"/>
                      <a:pt x="250" y="244"/>
                    </a:cubicBezTo>
                    <a:cubicBezTo>
                      <a:pt x="250" y="378"/>
                      <a:pt x="250" y="378"/>
                      <a:pt x="250" y="378"/>
                    </a:cubicBezTo>
                    <a:cubicBezTo>
                      <a:pt x="250" y="399"/>
                      <a:pt x="241" y="408"/>
                      <a:pt x="199" y="408"/>
                    </a:cubicBezTo>
                    <a:cubicBezTo>
                      <a:pt x="114" y="408"/>
                      <a:pt x="61" y="342"/>
                      <a:pt x="61" y="231"/>
                    </a:cubicBezTo>
                    <a:cubicBezTo>
                      <a:pt x="61" y="115"/>
                      <a:pt x="126" y="49"/>
                      <a:pt x="238" y="49"/>
                    </a:cubicBezTo>
                    <a:cubicBezTo>
                      <a:pt x="270" y="49"/>
                      <a:pt x="270" y="49"/>
                      <a:pt x="270" y="49"/>
                    </a:cubicBezTo>
                    <a:cubicBezTo>
                      <a:pt x="282" y="49"/>
                      <a:pt x="286" y="39"/>
                      <a:pt x="286" y="23"/>
                    </a:cubicBezTo>
                    <a:cubicBezTo>
                      <a:pt x="286" y="4"/>
                      <a:pt x="275" y="0"/>
                      <a:pt x="244" y="0"/>
                    </a:cubicBezTo>
                    <a:cubicBezTo>
                      <a:pt x="231" y="0"/>
                      <a:pt x="231" y="0"/>
                      <a:pt x="231" y="0"/>
                    </a:cubicBezTo>
                    <a:cubicBezTo>
                      <a:pt x="101" y="0"/>
                      <a:pt x="0" y="71"/>
                      <a:pt x="0" y="232"/>
                    </a:cubicBezTo>
                    <a:cubicBezTo>
                      <a:pt x="0" y="386"/>
                      <a:pt x="88" y="455"/>
                      <a:pt x="198" y="455"/>
                    </a:cubicBezTo>
                    <a:cubicBezTo>
                      <a:pt x="286" y="455"/>
                      <a:pt x="307" y="430"/>
                      <a:pt x="307" y="40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3" name="Oval 8">
                <a:extLst>
                  <a:ext uri="{FF2B5EF4-FFF2-40B4-BE49-F238E27FC236}">
                    <a16:creationId xmlns:a16="http://schemas.microsoft.com/office/drawing/2014/main" id="{60D97C11-1A3B-5449-A48D-98A3E79B381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778" y="2099"/>
                <a:ext cx="122" cy="12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4" name="Freeform 9">
                <a:extLst>
                  <a:ext uri="{FF2B5EF4-FFF2-40B4-BE49-F238E27FC236}">
                    <a16:creationId xmlns:a16="http://schemas.microsoft.com/office/drawing/2014/main" id="{5856770D-B8F0-244E-A05D-AED190086F1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623" y="1696"/>
                <a:ext cx="1167" cy="922"/>
              </a:xfrm>
              <a:custGeom>
                <a:avLst/>
                <a:gdLst>
                  <a:gd name="T0" fmla="*/ 411 w 580"/>
                  <a:gd name="T1" fmla="*/ 213 h 458"/>
                  <a:gd name="T2" fmla="*/ 570 w 580"/>
                  <a:gd name="T3" fmla="*/ 37 h 458"/>
                  <a:gd name="T4" fmla="*/ 580 w 580"/>
                  <a:gd name="T5" fmla="*/ 20 h 458"/>
                  <a:gd name="T6" fmla="*/ 545 w 580"/>
                  <a:gd name="T7" fmla="*/ 0 h 458"/>
                  <a:gd name="T8" fmla="*/ 519 w 580"/>
                  <a:gd name="T9" fmla="*/ 16 h 458"/>
                  <a:gd name="T10" fmla="*/ 344 w 580"/>
                  <a:gd name="T11" fmla="*/ 210 h 458"/>
                  <a:gd name="T12" fmla="*/ 334 w 580"/>
                  <a:gd name="T13" fmla="*/ 229 h 458"/>
                  <a:gd name="T14" fmla="*/ 344 w 580"/>
                  <a:gd name="T15" fmla="*/ 248 h 458"/>
                  <a:gd name="T16" fmla="*/ 519 w 580"/>
                  <a:gd name="T17" fmla="*/ 442 h 458"/>
                  <a:gd name="T18" fmla="*/ 545 w 580"/>
                  <a:gd name="T19" fmla="*/ 458 h 458"/>
                  <a:gd name="T20" fmla="*/ 580 w 580"/>
                  <a:gd name="T21" fmla="*/ 438 h 458"/>
                  <a:gd name="T22" fmla="*/ 570 w 580"/>
                  <a:gd name="T23" fmla="*/ 421 h 458"/>
                  <a:gd name="T24" fmla="*/ 411 w 580"/>
                  <a:gd name="T25" fmla="*/ 245 h 458"/>
                  <a:gd name="T26" fmla="*/ 399 w 580"/>
                  <a:gd name="T27" fmla="*/ 229 h 458"/>
                  <a:gd name="T28" fmla="*/ 411 w 580"/>
                  <a:gd name="T29" fmla="*/ 213 h 458"/>
                  <a:gd name="T30" fmla="*/ 252 w 580"/>
                  <a:gd name="T31" fmla="*/ 439 h 458"/>
                  <a:gd name="T32" fmla="*/ 281 w 580"/>
                  <a:gd name="T33" fmla="*/ 454 h 458"/>
                  <a:gd name="T34" fmla="*/ 309 w 580"/>
                  <a:gd name="T35" fmla="*/ 439 h 458"/>
                  <a:gd name="T36" fmla="*/ 309 w 580"/>
                  <a:gd name="T37" fmla="*/ 19 h 458"/>
                  <a:gd name="T38" fmla="*/ 281 w 580"/>
                  <a:gd name="T39" fmla="*/ 4 h 458"/>
                  <a:gd name="T40" fmla="*/ 252 w 580"/>
                  <a:gd name="T41" fmla="*/ 19 h 458"/>
                  <a:gd name="T42" fmla="*/ 252 w 580"/>
                  <a:gd name="T43" fmla="*/ 439 h 458"/>
                  <a:gd name="T44" fmla="*/ 0 w 580"/>
                  <a:gd name="T45" fmla="*/ 439 h 458"/>
                  <a:gd name="T46" fmla="*/ 28 w 580"/>
                  <a:gd name="T47" fmla="*/ 454 h 458"/>
                  <a:gd name="T48" fmla="*/ 56 w 580"/>
                  <a:gd name="T49" fmla="*/ 439 h 458"/>
                  <a:gd name="T50" fmla="*/ 56 w 580"/>
                  <a:gd name="T51" fmla="*/ 157 h 458"/>
                  <a:gd name="T52" fmla="*/ 165 w 580"/>
                  <a:gd name="T53" fmla="*/ 53 h 458"/>
                  <a:gd name="T54" fmla="*/ 180 w 580"/>
                  <a:gd name="T55" fmla="*/ 53 h 458"/>
                  <a:gd name="T56" fmla="*/ 196 w 580"/>
                  <a:gd name="T57" fmla="*/ 27 h 458"/>
                  <a:gd name="T58" fmla="*/ 154 w 580"/>
                  <a:gd name="T59" fmla="*/ 4 h 458"/>
                  <a:gd name="T60" fmla="*/ 0 w 580"/>
                  <a:gd name="T61" fmla="*/ 152 h 458"/>
                  <a:gd name="T62" fmla="*/ 0 w 580"/>
                  <a:gd name="T63" fmla="*/ 439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80" h="458">
                    <a:moveTo>
                      <a:pt x="411" y="213"/>
                    </a:moveTo>
                    <a:cubicBezTo>
                      <a:pt x="570" y="37"/>
                      <a:pt x="570" y="37"/>
                      <a:pt x="570" y="37"/>
                    </a:cubicBezTo>
                    <a:cubicBezTo>
                      <a:pt x="576" y="30"/>
                      <a:pt x="580" y="25"/>
                      <a:pt x="580" y="20"/>
                    </a:cubicBezTo>
                    <a:cubicBezTo>
                      <a:pt x="580" y="10"/>
                      <a:pt x="559" y="0"/>
                      <a:pt x="545" y="0"/>
                    </a:cubicBezTo>
                    <a:cubicBezTo>
                      <a:pt x="535" y="0"/>
                      <a:pt x="526" y="8"/>
                      <a:pt x="519" y="16"/>
                    </a:cubicBezTo>
                    <a:cubicBezTo>
                      <a:pt x="344" y="210"/>
                      <a:pt x="344" y="210"/>
                      <a:pt x="344" y="210"/>
                    </a:cubicBezTo>
                    <a:cubicBezTo>
                      <a:pt x="336" y="219"/>
                      <a:pt x="334" y="224"/>
                      <a:pt x="334" y="229"/>
                    </a:cubicBezTo>
                    <a:cubicBezTo>
                      <a:pt x="334" y="234"/>
                      <a:pt x="336" y="239"/>
                      <a:pt x="344" y="248"/>
                    </a:cubicBezTo>
                    <a:cubicBezTo>
                      <a:pt x="519" y="442"/>
                      <a:pt x="519" y="442"/>
                      <a:pt x="519" y="442"/>
                    </a:cubicBezTo>
                    <a:cubicBezTo>
                      <a:pt x="526" y="450"/>
                      <a:pt x="535" y="458"/>
                      <a:pt x="545" y="458"/>
                    </a:cubicBezTo>
                    <a:cubicBezTo>
                      <a:pt x="559" y="458"/>
                      <a:pt x="580" y="448"/>
                      <a:pt x="580" y="438"/>
                    </a:cubicBezTo>
                    <a:cubicBezTo>
                      <a:pt x="580" y="433"/>
                      <a:pt x="576" y="428"/>
                      <a:pt x="570" y="421"/>
                    </a:cubicBezTo>
                    <a:cubicBezTo>
                      <a:pt x="411" y="245"/>
                      <a:pt x="411" y="245"/>
                      <a:pt x="411" y="245"/>
                    </a:cubicBezTo>
                    <a:cubicBezTo>
                      <a:pt x="403" y="236"/>
                      <a:pt x="399" y="232"/>
                      <a:pt x="399" y="229"/>
                    </a:cubicBezTo>
                    <a:cubicBezTo>
                      <a:pt x="399" y="226"/>
                      <a:pt x="403" y="222"/>
                      <a:pt x="411" y="213"/>
                    </a:cubicBezTo>
                    <a:moveTo>
                      <a:pt x="252" y="439"/>
                    </a:moveTo>
                    <a:cubicBezTo>
                      <a:pt x="252" y="449"/>
                      <a:pt x="261" y="454"/>
                      <a:pt x="281" y="454"/>
                    </a:cubicBezTo>
                    <a:cubicBezTo>
                      <a:pt x="300" y="454"/>
                      <a:pt x="309" y="449"/>
                      <a:pt x="309" y="439"/>
                    </a:cubicBezTo>
                    <a:cubicBezTo>
                      <a:pt x="309" y="19"/>
                      <a:pt x="309" y="19"/>
                      <a:pt x="309" y="19"/>
                    </a:cubicBezTo>
                    <a:cubicBezTo>
                      <a:pt x="309" y="9"/>
                      <a:pt x="300" y="4"/>
                      <a:pt x="281" y="4"/>
                    </a:cubicBezTo>
                    <a:cubicBezTo>
                      <a:pt x="261" y="4"/>
                      <a:pt x="252" y="9"/>
                      <a:pt x="252" y="19"/>
                    </a:cubicBezTo>
                    <a:lnTo>
                      <a:pt x="252" y="439"/>
                    </a:lnTo>
                    <a:close/>
                    <a:moveTo>
                      <a:pt x="0" y="439"/>
                    </a:moveTo>
                    <a:cubicBezTo>
                      <a:pt x="0" y="449"/>
                      <a:pt x="8" y="454"/>
                      <a:pt x="28" y="454"/>
                    </a:cubicBezTo>
                    <a:cubicBezTo>
                      <a:pt x="48" y="454"/>
                      <a:pt x="56" y="449"/>
                      <a:pt x="56" y="439"/>
                    </a:cubicBezTo>
                    <a:cubicBezTo>
                      <a:pt x="56" y="157"/>
                      <a:pt x="56" y="157"/>
                      <a:pt x="56" y="157"/>
                    </a:cubicBezTo>
                    <a:cubicBezTo>
                      <a:pt x="56" y="83"/>
                      <a:pt x="85" y="53"/>
                      <a:pt x="165" y="53"/>
                    </a:cubicBezTo>
                    <a:cubicBezTo>
                      <a:pt x="180" y="53"/>
                      <a:pt x="180" y="53"/>
                      <a:pt x="180" y="53"/>
                    </a:cubicBezTo>
                    <a:cubicBezTo>
                      <a:pt x="192" y="53"/>
                      <a:pt x="196" y="43"/>
                      <a:pt x="196" y="27"/>
                    </a:cubicBezTo>
                    <a:cubicBezTo>
                      <a:pt x="196" y="8"/>
                      <a:pt x="185" y="4"/>
                      <a:pt x="154" y="4"/>
                    </a:cubicBezTo>
                    <a:cubicBezTo>
                      <a:pt x="64" y="4"/>
                      <a:pt x="0" y="43"/>
                      <a:pt x="0" y="152"/>
                    </a:cubicBezTo>
                    <a:lnTo>
                      <a:pt x="0" y="4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5" name="Freeform 10">
                <a:extLst>
                  <a:ext uri="{FF2B5EF4-FFF2-40B4-BE49-F238E27FC236}">
                    <a16:creationId xmlns:a16="http://schemas.microsoft.com/office/drawing/2014/main" id="{2B91B16B-BC11-E547-8FAC-B9B8D18EA4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80" y="1704"/>
                <a:ext cx="618" cy="916"/>
              </a:xfrm>
              <a:custGeom>
                <a:avLst/>
                <a:gdLst>
                  <a:gd name="T0" fmla="*/ 307 w 307"/>
                  <a:gd name="T1" fmla="*/ 405 h 455"/>
                  <a:gd name="T2" fmla="*/ 307 w 307"/>
                  <a:gd name="T3" fmla="*/ 244 h 455"/>
                  <a:gd name="T4" fmla="*/ 279 w 307"/>
                  <a:gd name="T5" fmla="*/ 229 h 455"/>
                  <a:gd name="T6" fmla="*/ 250 w 307"/>
                  <a:gd name="T7" fmla="*/ 244 h 455"/>
                  <a:gd name="T8" fmla="*/ 250 w 307"/>
                  <a:gd name="T9" fmla="*/ 378 h 455"/>
                  <a:gd name="T10" fmla="*/ 199 w 307"/>
                  <a:gd name="T11" fmla="*/ 408 h 455"/>
                  <a:gd name="T12" fmla="*/ 61 w 307"/>
                  <a:gd name="T13" fmla="*/ 231 h 455"/>
                  <a:gd name="T14" fmla="*/ 238 w 307"/>
                  <a:gd name="T15" fmla="*/ 49 h 455"/>
                  <a:gd name="T16" fmla="*/ 270 w 307"/>
                  <a:gd name="T17" fmla="*/ 49 h 455"/>
                  <a:gd name="T18" fmla="*/ 286 w 307"/>
                  <a:gd name="T19" fmla="*/ 23 h 455"/>
                  <a:gd name="T20" fmla="*/ 244 w 307"/>
                  <a:gd name="T21" fmla="*/ 0 h 455"/>
                  <a:gd name="T22" fmla="*/ 231 w 307"/>
                  <a:gd name="T23" fmla="*/ 0 h 455"/>
                  <a:gd name="T24" fmla="*/ 0 w 307"/>
                  <a:gd name="T25" fmla="*/ 232 h 455"/>
                  <a:gd name="T26" fmla="*/ 198 w 307"/>
                  <a:gd name="T27" fmla="*/ 455 h 455"/>
                  <a:gd name="T28" fmla="*/ 307 w 307"/>
                  <a:gd name="T29" fmla="*/ 40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7" h="455">
                    <a:moveTo>
                      <a:pt x="307" y="405"/>
                    </a:moveTo>
                    <a:cubicBezTo>
                      <a:pt x="307" y="244"/>
                      <a:pt x="307" y="244"/>
                      <a:pt x="307" y="244"/>
                    </a:cubicBezTo>
                    <a:cubicBezTo>
                      <a:pt x="307" y="234"/>
                      <a:pt x="298" y="229"/>
                      <a:pt x="279" y="229"/>
                    </a:cubicBezTo>
                    <a:cubicBezTo>
                      <a:pt x="259" y="229"/>
                      <a:pt x="250" y="234"/>
                      <a:pt x="250" y="244"/>
                    </a:cubicBezTo>
                    <a:cubicBezTo>
                      <a:pt x="250" y="378"/>
                      <a:pt x="250" y="378"/>
                      <a:pt x="250" y="378"/>
                    </a:cubicBezTo>
                    <a:cubicBezTo>
                      <a:pt x="250" y="399"/>
                      <a:pt x="241" y="408"/>
                      <a:pt x="199" y="408"/>
                    </a:cubicBezTo>
                    <a:cubicBezTo>
                      <a:pt x="114" y="408"/>
                      <a:pt x="61" y="342"/>
                      <a:pt x="61" y="231"/>
                    </a:cubicBezTo>
                    <a:cubicBezTo>
                      <a:pt x="61" y="115"/>
                      <a:pt x="126" y="49"/>
                      <a:pt x="238" y="49"/>
                    </a:cubicBezTo>
                    <a:cubicBezTo>
                      <a:pt x="270" y="49"/>
                      <a:pt x="270" y="49"/>
                      <a:pt x="270" y="49"/>
                    </a:cubicBezTo>
                    <a:cubicBezTo>
                      <a:pt x="282" y="49"/>
                      <a:pt x="286" y="39"/>
                      <a:pt x="286" y="23"/>
                    </a:cubicBezTo>
                    <a:cubicBezTo>
                      <a:pt x="286" y="4"/>
                      <a:pt x="275" y="0"/>
                      <a:pt x="244" y="0"/>
                    </a:cubicBezTo>
                    <a:cubicBezTo>
                      <a:pt x="231" y="0"/>
                      <a:pt x="231" y="0"/>
                      <a:pt x="231" y="0"/>
                    </a:cubicBezTo>
                    <a:cubicBezTo>
                      <a:pt x="101" y="0"/>
                      <a:pt x="0" y="71"/>
                      <a:pt x="0" y="232"/>
                    </a:cubicBezTo>
                    <a:cubicBezTo>
                      <a:pt x="0" y="386"/>
                      <a:pt x="88" y="455"/>
                      <a:pt x="198" y="455"/>
                    </a:cubicBezTo>
                    <a:cubicBezTo>
                      <a:pt x="286" y="455"/>
                      <a:pt x="307" y="430"/>
                      <a:pt x="307" y="40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6" name="Oval 11">
                <a:extLst>
                  <a:ext uri="{FF2B5EF4-FFF2-40B4-BE49-F238E27FC236}">
                    <a16:creationId xmlns:a16="http://schemas.microsoft.com/office/drawing/2014/main" id="{14F8C3C8-4888-7646-B9B4-64EB46A1DA2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778" y="2099"/>
                <a:ext cx="122" cy="12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7" name="Freeform 12">
                <a:extLst>
                  <a:ext uri="{FF2B5EF4-FFF2-40B4-BE49-F238E27FC236}">
                    <a16:creationId xmlns:a16="http://schemas.microsoft.com/office/drawing/2014/main" id="{D79D01D1-4E3E-F34B-97D7-2D387E6874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21" y="1029"/>
                <a:ext cx="648" cy="649"/>
              </a:xfrm>
              <a:custGeom>
                <a:avLst/>
                <a:gdLst>
                  <a:gd name="T0" fmla="*/ 0 w 648"/>
                  <a:gd name="T1" fmla="*/ 649 h 649"/>
                  <a:gd name="T2" fmla="*/ 2 w 648"/>
                  <a:gd name="T3" fmla="*/ 649 h 649"/>
                  <a:gd name="T4" fmla="*/ 648 w 648"/>
                  <a:gd name="T5" fmla="*/ 0 h 649"/>
                  <a:gd name="T6" fmla="*/ 423 w 648"/>
                  <a:gd name="T7" fmla="*/ 0 h 649"/>
                  <a:gd name="T8" fmla="*/ 0 w 648"/>
                  <a:gd name="T9" fmla="*/ 649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8" h="649">
                    <a:moveTo>
                      <a:pt x="0" y="649"/>
                    </a:moveTo>
                    <a:lnTo>
                      <a:pt x="2" y="649"/>
                    </a:lnTo>
                    <a:lnTo>
                      <a:pt x="648" y="0"/>
                    </a:lnTo>
                    <a:lnTo>
                      <a:pt x="423" y="0"/>
                    </a:lnTo>
                    <a:lnTo>
                      <a:pt x="0" y="64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8" name="Freeform 13">
                <a:extLst>
                  <a:ext uri="{FF2B5EF4-FFF2-40B4-BE49-F238E27FC236}">
                    <a16:creationId xmlns:a16="http://schemas.microsoft.com/office/drawing/2014/main" id="{46549898-6C52-B147-A8F6-A73FDBE616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21" y="1029"/>
                <a:ext cx="648" cy="649"/>
              </a:xfrm>
              <a:custGeom>
                <a:avLst/>
                <a:gdLst>
                  <a:gd name="T0" fmla="*/ 0 w 648"/>
                  <a:gd name="T1" fmla="*/ 649 h 649"/>
                  <a:gd name="T2" fmla="*/ 2 w 648"/>
                  <a:gd name="T3" fmla="*/ 649 h 649"/>
                  <a:gd name="T4" fmla="*/ 648 w 648"/>
                  <a:gd name="T5" fmla="*/ 0 h 649"/>
                  <a:gd name="T6" fmla="*/ 423 w 648"/>
                  <a:gd name="T7" fmla="*/ 0 h 649"/>
                  <a:gd name="T8" fmla="*/ 0 w 648"/>
                  <a:gd name="T9" fmla="*/ 649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8" h="649">
                    <a:moveTo>
                      <a:pt x="0" y="649"/>
                    </a:moveTo>
                    <a:lnTo>
                      <a:pt x="2" y="649"/>
                    </a:lnTo>
                    <a:lnTo>
                      <a:pt x="648" y="0"/>
                    </a:lnTo>
                    <a:lnTo>
                      <a:pt x="423" y="0"/>
                    </a:lnTo>
                    <a:lnTo>
                      <a:pt x="0" y="649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</p:grpSp>
      </p:grp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3EA3BA3C-82AC-45BA-9659-DD8E28BB5C16}" type="datetime5">
              <a:rPr lang="en-US" smtClean="0"/>
              <a:t>18-Nov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E3B25F7-8D1F-44B5-B485-EE3C438CFD7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7600" y="1628775"/>
            <a:ext cx="3816000" cy="2236264"/>
          </a:xfrm>
        </p:spPr>
        <p:txBody>
          <a:bodyPr anchor="b"/>
          <a:lstStyle>
            <a:lvl1pPr algn="l">
              <a:defRPr sz="3600" baseline="0"/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7600" y="4094163"/>
            <a:ext cx="3816000" cy="108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5393268"/>
            <a:ext cx="3816000" cy="296332"/>
          </a:xfrm>
        </p:spPr>
        <p:txBody>
          <a:bodyPr wrap="none"/>
          <a:lstStyle>
            <a:lvl1pPr marL="0" indent="0">
              <a:spcBef>
                <a:spcPts val="0"/>
              </a:spcBef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4" name="Text Placeholder 30"/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5691446"/>
            <a:ext cx="3816000" cy="296332"/>
          </a:xfrm>
        </p:spPr>
        <p:txBody>
          <a:bodyPr wrap="none"/>
          <a:lstStyle>
            <a:lvl1pPr marL="0" indent="0">
              <a:spcBef>
                <a:spcPts val="0"/>
              </a:spcBef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/>
              <a:t>Department</a:t>
            </a:r>
          </a:p>
        </p:txBody>
      </p:sp>
    </p:spTree>
    <p:extLst>
      <p:ext uri="{BB962C8B-B14F-4D97-AF65-F5344CB8AC3E}">
        <p14:creationId xmlns:p14="http://schemas.microsoft.com/office/powerpoint/2010/main" val="22332339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20"/>
          <p:cNvSpPr>
            <a:spLocks noGrp="1"/>
          </p:cNvSpPr>
          <p:nvPr>
            <p:ph type="dt" sz="half" idx="14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/>
          <a:p>
            <a:fld id="{0C2FFEBC-2BB8-4026-95F3-22D358B37101}" type="datetime5">
              <a:rPr lang="en-US" smtClean="0"/>
              <a:t>18-Nov-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5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F3E29E4-0979-4FCA-B4C5-5FC6044C982A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slide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1075061" y="964671"/>
            <a:ext cx="7910158" cy="490042"/>
          </a:xfrm>
        </p:spPr>
        <p:txBody>
          <a:bodyPr wrap="none"/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1075062" y="1637783"/>
            <a:ext cx="5220000" cy="4599506"/>
          </a:xfr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8" hasCustomPrompt="1"/>
          </p:nvPr>
        </p:nvSpPr>
        <p:spPr>
          <a:xfrm>
            <a:off x="6600525" y="1637783"/>
            <a:ext cx="5220000" cy="4599506"/>
          </a:xfr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1075063" y="6307665"/>
            <a:ext cx="8162717" cy="133200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3pPr>
            <a:lvl4pPr marL="0" algn="l">
              <a:lnSpc>
                <a:spcPct val="100000"/>
              </a:lnSpc>
              <a:spcBef>
                <a:spcPts val="0"/>
              </a:spcBef>
              <a:buNone/>
              <a:defRPr sz="8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dirty="0"/>
              <a:t>Source 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1929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20"/>
          <p:cNvSpPr>
            <a:spLocks noGrp="1"/>
          </p:cNvSpPr>
          <p:nvPr>
            <p:ph type="dt" sz="half" idx="14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/>
          <a:p>
            <a:fld id="{9D45F382-CD09-4611-8552-1549F9F12240}" type="datetime5">
              <a:rPr lang="en-US" smtClean="0"/>
              <a:t>18-Nov-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5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F3E29E4-0979-4FCA-B4C5-5FC6044C982A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slide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1075061" y="964671"/>
            <a:ext cx="7910158" cy="490042"/>
          </a:xfrm>
        </p:spPr>
        <p:txBody>
          <a:bodyPr wrap="none"/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5062" y="1629618"/>
            <a:ext cx="5220000" cy="413935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or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600525" y="1629618"/>
            <a:ext cx="5220000" cy="413935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or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075063" y="6307665"/>
            <a:ext cx="8162717" cy="133200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3pPr>
            <a:lvl4pPr marL="0" algn="l">
              <a:lnSpc>
                <a:spcPct val="100000"/>
              </a:lnSpc>
              <a:spcBef>
                <a:spcPts val="0"/>
              </a:spcBef>
              <a:buNone/>
              <a:defRPr sz="8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dirty="0"/>
              <a:t>Source 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508632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20"/>
          <p:cNvSpPr>
            <a:spLocks noGrp="1"/>
          </p:cNvSpPr>
          <p:nvPr>
            <p:ph type="dt" sz="half" idx="14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/>
          <a:p>
            <a:fld id="{E67FA33E-39D1-4C68-AC07-495881E0A93B}" type="datetime5">
              <a:rPr lang="en-US" smtClean="0"/>
              <a:t>18-Nov-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5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F3E29E4-0979-4FCA-B4C5-5FC6044C982A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slide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1075061" y="964671"/>
            <a:ext cx="7910158" cy="490042"/>
          </a:xfrm>
        </p:spPr>
        <p:txBody>
          <a:bodyPr wrap="none"/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5061" y="1629618"/>
            <a:ext cx="3384000" cy="413935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or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755793" y="1629618"/>
            <a:ext cx="3384000" cy="413935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or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436525" y="1629618"/>
            <a:ext cx="3384000" cy="413935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or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1075063" y="6307665"/>
            <a:ext cx="8162717" cy="133200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3pPr>
            <a:lvl4pPr marL="0" algn="l">
              <a:lnSpc>
                <a:spcPct val="100000"/>
              </a:lnSpc>
              <a:spcBef>
                <a:spcPts val="0"/>
              </a:spcBef>
              <a:buNone/>
              <a:defRPr sz="8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dirty="0"/>
              <a:t>Source 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77350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20"/>
          <p:cNvSpPr>
            <a:spLocks noGrp="1"/>
          </p:cNvSpPr>
          <p:nvPr>
            <p:ph type="dt" sz="half" idx="14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/>
          <a:p>
            <a:fld id="{C2672A55-7139-4AA9-8041-42818C956C2C}" type="datetime5">
              <a:rPr lang="en-US" smtClean="0"/>
              <a:t>18-Nov-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5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F3E29E4-0979-4FCA-B4C5-5FC6044C982A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slide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1075061" y="964671"/>
            <a:ext cx="7910158" cy="490042"/>
          </a:xfrm>
        </p:spPr>
        <p:txBody>
          <a:bodyPr wrap="none"/>
          <a:lstStyle>
            <a:lvl1pPr marL="0" indent="0" algn="l">
              <a:spcBef>
                <a:spcPts val="0"/>
              </a:spcBef>
              <a:buNone/>
              <a:defRPr sz="24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92088" y="1629618"/>
            <a:ext cx="2682000" cy="413935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or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174234" y="1629618"/>
            <a:ext cx="2682000" cy="413935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or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8" hasCustomPrompt="1"/>
          </p:nvPr>
        </p:nvSpPr>
        <p:spPr>
          <a:xfrm>
            <a:off x="6156380" y="1629618"/>
            <a:ext cx="2682000" cy="413935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or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9" hasCustomPrompt="1"/>
          </p:nvPr>
        </p:nvSpPr>
        <p:spPr>
          <a:xfrm>
            <a:off x="9138525" y="1629618"/>
            <a:ext cx="2682000" cy="413935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or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1075063" y="6307665"/>
            <a:ext cx="8162717" cy="133200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3pPr>
            <a:lvl4pPr marL="0" algn="l">
              <a:lnSpc>
                <a:spcPct val="100000"/>
              </a:lnSpc>
              <a:spcBef>
                <a:spcPts val="0"/>
              </a:spcBef>
              <a:buNone/>
              <a:defRPr sz="8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dirty="0"/>
              <a:t>Source 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26955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20"/>
          <p:cNvSpPr>
            <a:spLocks noGrp="1"/>
          </p:cNvSpPr>
          <p:nvPr>
            <p:ph type="dt" sz="half" idx="14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/>
          <a:p>
            <a:fld id="{C1A94770-6330-463A-BD32-DB4363F98C83}" type="datetime5">
              <a:rPr lang="en-US" smtClean="0"/>
              <a:t>18-Nov-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5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F3E29E4-0979-4FCA-B4C5-5FC6044C982A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slide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1075061" y="964671"/>
            <a:ext cx="7910158" cy="490042"/>
          </a:xfrm>
        </p:spPr>
        <p:txBody>
          <a:bodyPr wrap="none"/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92088" y="1629617"/>
            <a:ext cx="6102974" cy="21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or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600525" y="1629617"/>
            <a:ext cx="5234144" cy="21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or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8" hasCustomPrompt="1"/>
          </p:nvPr>
        </p:nvSpPr>
        <p:spPr>
          <a:xfrm>
            <a:off x="192088" y="4077289"/>
            <a:ext cx="6102974" cy="21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or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600525" y="4077289"/>
            <a:ext cx="5234144" cy="21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or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1075063" y="6307665"/>
            <a:ext cx="8162717" cy="133200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3pPr>
            <a:lvl4pPr marL="0" algn="l">
              <a:lnSpc>
                <a:spcPct val="100000"/>
              </a:lnSpc>
              <a:spcBef>
                <a:spcPts val="0"/>
              </a:spcBef>
              <a:buNone/>
              <a:defRPr sz="8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dirty="0"/>
              <a:t>Source 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00334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charts and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20"/>
          <p:cNvSpPr>
            <a:spLocks noGrp="1"/>
          </p:cNvSpPr>
          <p:nvPr>
            <p:ph type="dt" sz="half" idx="14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/>
          <a:p>
            <a:fld id="{C8265AAA-10E5-49CF-B48E-DC443F79F14E}" type="datetime5">
              <a:rPr lang="en-US" smtClean="0"/>
              <a:t>18-Nov-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5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F3E29E4-0979-4FCA-B4C5-5FC6044C982A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slide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1075061" y="964671"/>
            <a:ext cx="7910158" cy="490042"/>
          </a:xfrm>
        </p:spPr>
        <p:txBody>
          <a:bodyPr wrap="none"/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92088" y="1629617"/>
            <a:ext cx="11642581" cy="4599506"/>
          </a:xfrm>
        </p:spPr>
        <p:txBody>
          <a:bodyPr anchor="t"/>
          <a:lstStyle>
            <a:lvl1pPr marL="0" indent="0" algn="ctr">
              <a:spcBef>
                <a:spcPts val="1000"/>
              </a:spcBef>
              <a:buNone/>
              <a:defRPr sz="2800" baseline="0"/>
            </a:lvl1pPr>
            <a:lvl2pPr marL="0" indent="0">
              <a:spcBef>
                <a:spcPts val="1000"/>
              </a:spcBef>
              <a:buNone/>
              <a:defRPr sz="2800"/>
            </a:lvl2pPr>
            <a:lvl3pPr marL="0" indent="0">
              <a:spcBef>
                <a:spcPts val="1000"/>
              </a:spcBef>
              <a:buNone/>
              <a:defRPr sz="2800"/>
            </a:lvl3pPr>
            <a:lvl4pPr>
              <a:spcBef>
                <a:spcPts val="1000"/>
              </a:spcBef>
              <a:buNone/>
              <a:defRPr sz="2800"/>
            </a:lvl4pPr>
            <a:lvl5pPr marL="0" indent="0">
              <a:spcBef>
                <a:spcPts val="1000"/>
              </a:spcBef>
              <a:buNone/>
              <a:defRPr sz="2800"/>
            </a:lvl5pPr>
          </a:lstStyle>
          <a:p>
            <a:pPr lvl="0"/>
            <a:r>
              <a:rPr lang="en-US" dirty="0"/>
              <a:t>Use this layout for large charts and tables only. Please, do not use with tex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75063" y="6307665"/>
            <a:ext cx="8162717" cy="133200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3pPr>
            <a:lvl4pPr marL="0" algn="l">
              <a:lnSpc>
                <a:spcPct val="100000"/>
              </a:lnSpc>
              <a:spcBef>
                <a:spcPts val="0"/>
              </a:spcBef>
              <a:buNone/>
              <a:defRPr sz="8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dirty="0"/>
              <a:t>Source 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76503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20"/>
          <p:cNvSpPr>
            <a:spLocks noGrp="1"/>
          </p:cNvSpPr>
          <p:nvPr>
            <p:ph type="dt" sz="half" idx="14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/>
          <a:p>
            <a:fld id="{7E0CC7EF-9DF0-4DDD-B873-4143C4455B77}" type="datetime5">
              <a:rPr lang="en-US" smtClean="0"/>
              <a:t>18-Nov-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5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F3E29E4-0979-4FCA-B4C5-5FC6044C982A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slide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1075061" y="964671"/>
            <a:ext cx="7910158" cy="490042"/>
          </a:xfrm>
        </p:spPr>
        <p:txBody>
          <a:bodyPr wrap="none"/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7" hasCustomPrompt="1"/>
          </p:nvPr>
        </p:nvSpPr>
        <p:spPr>
          <a:xfrm>
            <a:off x="192088" y="1629617"/>
            <a:ext cx="5903913" cy="459950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06067" y="3393019"/>
            <a:ext cx="5628602" cy="2023841"/>
          </a:xfrm>
          <a:solidFill>
            <a:srgbClr val="D9DADB"/>
          </a:solidFill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1075063" y="6307665"/>
            <a:ext cx="8162717" cy="133200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3pPr>
            <a:lvl4pPr marL="0" algn="l">
              <a:lnSpc>
                <a:spcPct val="100000"/>
              </a:lnSpc>
              <a:spcBef>
                <a:spcPts val="0"/>
              </a:spcBef>
              <a:buNone/>
              <a:defRPr sz="8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dirty="0"/>
              <a:t>Source 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75939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tebo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Notebook">
            <a:extLst>
              <a:ext uri="{FF2B5EF4-FFF2-40B4-BE49-F238E27FC236}">
                <a16:creationId xmlns:a16="http://schemas.microsoft.com/office/drawing/2014/main" id="{6DEE1461-64EC-7246-8FA6-71C6BF4976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1351" y="1267197"/>
            <a:ext cx="8528460" cy="5161713"/>
          </a:xfrm>
          <a:prstGeom prst="rect">
            <a:avLst/>
          </a:prstGeom>
        </p:spPr>
      </p:pic>
      <p:sp>
        <p:nvSpPr>
          <p:cNvPr id="21" name="Date Placeholder 20"/>
          <p:cNvSpPr>
            <a:spLocks noGrp="1"/>
          </p:cNvSpPr>
          <p:nvPr>
            <p:ph type="dt" sz="half" idx="14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/>
          <a:p>
            <a:fld id="{DC5CC4D7-5797-439F-A8BE-F20DB0B4B50C}" type="datetime5">
              <a:rPr lang="en-US" smtClean="0"/>
              <a:t>18-Nov-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5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F3E29E4-0979-4FCA-B4C5-5FC6044C982A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slide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1075061" y="964671"/>
            <a:ext cx="7910158" cy="490042"/>
          </a:xfrm>
        </p:spPr>
        <p:txBody>
          <a:bodyPr wrap="none"/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5062" y="1852623"/>
            <a:ext cx="3287388" cy="3658714"/>
          </a:xfrm>
        </p:spPr>
        <p:txBody>
          <a:bodyPr anchor="ctr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4904507" y="1821610"/>
            <a:ext cx="6001200" cy="3664800"/>
          </a:xfr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075063" y="6307665"/>
            <a:ext cx="8162717" cy="133200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3pPr>
            <a:lvl4pPr marL="0" algn="l">
              <a:lnSpc>
                <a:spcPct val="100000"/>
              </a:lnSpc>
              <a:spcBef>
                <a:spcPts val="0"/>
              </a:spcBef>
              <a:buNone/>
              <a:defRPr sz="8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dirty="0"/>
              <a:t>Source 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75055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3">
            <a:extLst>
              <a:ext uri="{FF2B5EF4-FFF2-40B4-BE49-F238E27FC236}">
                <a16:creationId xmlns:a16="http://schemas.microsoft.com/office/drawing/2014/main" id="{1D97A272-8DE5-144D-9076-0F435EC7917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473" b="9902"/>
          <a:stretch/>
        </p:blipFill>
        <p:spPr>
          <a:xfrm>
            <a:off x="4422451" y="1441279"/>
            <a:ext cx="6858000" cy="5323585"/>
          </a:xfrm>
          <a:prstGeom prst="rect">
            <a:avLst/>
          </a:prstGeom>
        </p:spPr>
      </p:pic>
      <p:sp>
        <p:nvSpPr>
          <p:cNvPr id="21" name="Date Placeholder 20"/>
          <p:cNvSpPr>
            <a:spLocks noGrp="1"/>
          </p:cNvSpPr>
          <p:nvPr>
            <p:ph type="dt" sz="half" idx="14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/>
          <a:p>
            <a:fld id="{22BF40EB-4E4B-4735-9535-C7494D4B38E6}" type="datetime5">
              <a:rPr lang="en-US" smtClean="0"/>
              <a:t>18-Nov-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5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F3E29E4-0979-4FCA-B4C5-5FC6044C982A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slide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1075061" y="964671"/>
            <a:ext cx="7910158" cy="490042"/>
          </a:xfrm>
        </p:spPr>
        <p:txBody>
          <a:bodyPr wrap="none"/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5062" y="1852623"/>
            <a:ext cx="3287388" cy="3658714"/>
          </a:xfrm>
        </p:spPr>
        <p:txBody>
          <a:bodyPr anchor="ctr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5135561" y="2010934"/>
            <a:ext cx="5491064" cy="3428280"/>
          </a:xfr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075063" y="6307665"/>
            <a:ext cx="8162717" cy="133200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3pPr>
            <a:lvl4pPr marL="0" algn="l">
              <a:lnSpc>
                <a:spcPct val="100000"/>
              </a:lnSpc>
              <a:spcBef>
                <a:spcPts val="0"/>
              </a:spcBef>
              <a:buNone/>
              <a:defRPr sz="8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dirty="0"/>
              <a:t>Source 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77182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2">
            <a:extLst>
              <a:ext uri="{FF2B5EF4-FFF2-40B4-BE49-F238E27FC236}">
                <a16:creationId xmlns:a16="http://schemas.microsoft.com/office/drawing/2014/main" id="{6421FD8A-F5D4-E041-A727-98ABA693B1A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774"/>
          <a:stretch/>
        </p:blipFill>
        <p:spPr>
          <a:xfrm>
            <a:off x="5472449" y="1362516"/>
            <a:ext cx="4953000" cy="4865134"/>
          </a:xfrm>
          <a:prstGeom prst="rect">
            <a:avLst/>
          </a:prstGeom>
          <a:effectLst>
            <a:reflection blurRad="6350" stA="48000" endPos="6000" dir="5400000" sy="-100000" algn="bl" rotWithShape="0"/>
          </a:effectLst>
        </p:spPr>
      </p:pic>
      <p:sp>
        <p:nvSpPr>
          <p:cNvPr id="21" name="Date Placeholder 20"/>
          <p:cNvSpPr>
            <a:spLocks noGrp="1"/>
          </p:cNvSpPr>
          <p:nvPr>
            <p:ph type="dt" sz="half" idx="14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/>
          <a:p>
            <a:fld id="{3A57DC1E-3194-45CD-A5C4-CC4893251E0F}" type="datetime5">
              <a:rPr lang="en-US" smtClean="0"/>
              <a:t>18-Nov-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5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F3E29E4-0979-4FCA-B4C5-5FC6044C982A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slide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1075061" y="964671"/>
            <a:ext cx="7910158" cy="490042"/>
          </a:xfrm>
        </p:spPr>
        <p:txBody>
          <a:bodyPr wrap="none"/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5061" y="1852623"/>
            <a:ext cx="5241071" cy="3658714"/>
          </a:xfrm>
        </p:spPr>
        <p:txBody>
          <a:bodyPr anchor="ctr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6923531" y="1784822"/>
            <a:ext cx="2006654" cy="4104000"/>
          </a:xfr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075063" y="6307665"/>
            <a:ext cx="8162717" cy="133200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3pPr>
            <a:lvl4pPr marL="0" algn="l">
              <a:lnSpc>
                <a:spcPct val="100000"/>
              </a:lnSpc>
              <a:spcBef>
                <a:spcPts val="0"/>
              </a:spcBef>
              <a:buNone/>
              <a:defRPr sz="8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dirty="0"/>
              <a:t>Source 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77370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">
            <a:extLst>
              <a:ext uri="{FF2B5EF4-FFF2-40B4-BE49-F238E27FC236}">
                <a16:creationId xmlns:a16="http://schemas.microsoft.com/office/drawing/2014/main" id="{8BF907F5-A9CD-2740-AF54-6BACB62334A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37" t="1" r="7487" b="9924"/>
          <a:stretch/>
        </p:blipFill>
        <p:spPr>
          <a:xfrm>
            <a:off x="2620212" y="-8808"/>
            <a:ext cx="9697299" cy="6866807"/>
          </a:xfrm>
          <a:prstGeom prst="rect">
            <a:avLst/>
          </a:prstGeom>
        </p:spPr>
      </p:pic>
      <p:sp>
        <p:nvSpPr>
          <p:cNvPr id="32" name="shpPicture"/>
          <p:cNvSpPr/>
          <p:nvPr/>
        </p:nvSpPr>
        <p:spPr>
          <a:xfrm>
            <a:off x="1" y="0"/>
            <a:ext cx="4112145" cy="6858000"/>
          </a:xfrm>
          <a:custGeom>
            <a:avLst/>
            <a:gdLst>
              <a:gd name="connsiteX0" fmla="*/ 0 w 4112145"/>
              <a:gd name="connsiteY0" fmla="*/ 0 h 6858000"/>
              <a:gd name="connsiteX1" fmla="*/ 2588964 w 4112145"/>
              <a:gd name="connsiteY1" fmla="*/ 0 h 6858000"/>
              <a:gd name="connsiteX2" fmla="*/ 4112145 w 4112145"/>
              <a:gd name="connsiteY2" fmla="*/ 3083531 h 6858000"/>
              <a:gd name="connsiteX3" fmla="*/ 2697661 w 4112145"/>
              <a:gd name="connsiteY3" fmla="*/ 6858000 h 6858000"/>
              <a:gd name="connsiteX4" fmla="*/ 0 w 4112145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12145" h="6858000">
                <a:moveTo>
                  <a:pt x="0" y="0"/>
                </a:moveTo>
                <a:lnTo>
                  <a:pt x="2588964" y="0"/>
                </a:lnTo>
                <a:lnTo>
                  <a:pt x="4112145" y="3083531"/>
                </a:lnTo>
                <a:lnTo>
                  <a:pt x="269766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US" sz="1600" dirty="0"/>
          </a:p>
        </p:txBody>
      </p:sp>
      <p:grpSp>
        <p:nvGrpSpPr>
          <p:cNvPr id="14" name="logo">
            <a:extLst>
              <a:ext uri="{FF2B5EF4-FFF2-40B4-BE49-F238E27FC236}">
                <a16:creationId xmlns:a16="http://schemas.microsoft.com/office/drawing/2014/main" id="{18C26D95-70F8-8A4D-9F18-DCCB92522AF8}"/>
              </a:ext>
            </a:extLst>
          </p:cNvPr>
          <p:cNvGrpSpPr/>
          <p:nvPr/>
        </p:nvGrpSpPr>
        <p:grpSpPr bwMode="gray">
          <a:xfrm>
            <a:off x="417363" y="407485"/>
            <a:ext cx="1518585" cy="646507"/>
            <a:chOff x="334963" y="296652"/>
            <a:chExt cx="1268411" cy="540000"/>
          </a:xfrm>
        </p:grpSpPr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8737AD0-E375-E445-97E6-CD2E2DF6062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82662" y="360462"/>
              <a:ext cx="620712" cy="431800"/>
            </a:xfrm>
            <a:custGeom>
              <a:avLst/>
              <a:gdLst>
                <a:gd name="T0" fmla="*/ 19 w 1809"/>
                <a:gd name="T1" fmla="*/ 97 h 1253"/>
                <a:gd name="T2" fmla="*/ 165 w 1809"/>
                <a:gd name="T3" fmla="*/ 41 h 1253"/>
                <a:gd name="T4" fmla="*/ 211 w 1809"/>
                <a:gd name="T5" fmla="*/ 224 h 1253"/>
                <a:gd name="T6" fmla="*/ 248 w 1809"/>
                <a:gd name="T7" fmla="*/ 155 h 1253"/>
                <a:gd name="T8" fmla="*/ 931 w 1809"/>
                <a:gd name="T9" fmla="*/ 995 h 1253"/>
                <a:gd name="T10" fmla="*/ 858 w 1809"/>
                <a:gd name="T11" fmla="*/ 1115 h 1253"/>
                <a:gd name="T12" fmla="*/ 749 w 1809"/>
                <a:gd name="T13" fmla="*/ 1117 h 1253"/>
                <a:gd name="T14" fmla="*/ 681 w 1809"/>
                <a:gd name="T15" fmla="*/ 1055 h 1253"/>
                <a:gd name="T16" fmla="*/ 800 w 1809"/>
                <a:gd name="T17" fmla="*/ 1054 h 1253"/>
                <a:gd name="T18" fmla="*/ 884 w 1809"/>
                <a:gd name="T19" fmla="*/ 1181 h 1253"/>
                <a:gd name="T20" fmla="*/ 118 w 1809"/>
                <a:gd name="T21" fmla="*/ 1086 h 1253"/>
                <a:gd name="T22" fmla="*/ 147 w 1809"/>
                <a:gd name="T23" fmla="*/ 1026 h 1253"/>
                <a:gd name="T24" fmla="*/ 102 w 1809"/>
                <a:gd name="T25" fmla="*/ 1026 h 1253"/>
                <a:gd name="T26" fmla="*/ 639 w 1809"/>
                <a:gd name="T27" fmla="*/ 84 h 1253"/>
                <a:gd name="T28" fmla="*/ 763 w 1809"/>
                <a:gd name="T29" fmla="*/ 145 h 1253"/>
                <a:gd name="T30" fmla="*/ 863 w 1809"/>
                <a:gd name="T31" fmla="*/ 221 h 1253"/>
                <a:gd name="T32" fmla="*/ 834 w 1809"/>
                <a:gd name="T33" fmla="*/ 208 h 1253"/>
                <a:gd name="T34" fmla="*/ 719 w 1809"/>
                <a:gd name="T35" fmla="*/ 182 h 1253"/>
                <a:gd name="T36" fmla="*/ 507 w 1809"/>
                <a:gd name="T37" fmla="*/ 711 h 1253"/>
                <a:gd name="T38" fmla="*/ 614 w 1809"/>
                <a:gd name="T39" fmla="*/ 706 h 1253"/>
                <a:gd name="T40" fmla="*/ 736 w 1809"/>
                <a:gd name="T41" fmla="*/ 730 h 1253"/>
                <a:gd name="T42" fmla="*/ 607 w 1809"/>
                <a:gd name="T43" fmla="*/ 539 h 1253"/>
                <a:gd name="T44" fmla="*/ 1505 w 1809"/>
                <a:gd name="T45" fmla="*/ 1136 h 1253"/>
                <a:gd name="T46" fmla="*/ 1613 w 1809"/>
                <a:gd name="T47" fmla="*/ 1002 h 1253"/>
                <a:gd name="T48" fmla="*/ 1472 w 1809"/>
                <a:gd name="T49" fmla="*/ 1164 h 1253"/>
                <a:gd name="T50" fmla="*/ 1525 w 1809"/>
                <a:gd name="T51" fmla="*/ 1142 h 1253"/>
                <a:gd name="T52" fmla="*/ 1556 w 1809"/>
                <a:gd name="T53" fmla="*/ 1172 h 1253"/>
                <a:gd name="T54" fmla="*/ 1387 w 1809"/>
                <a:gd name="T55" fmla="*/ 910 h 1253"/>
                <a:gd name="T56" fmla="*/ 1261 w 1809"/>
                <a:gd name="T57" fmla="*/ 1157 h 1253"/>
                <a:gd name="T58" fmla="*/ 1413 w 1809"/>
                <a:gd name="T59" fmla="*/ 934 h 1253"/>
                <a:gd name="T60" fmla="*/ 1378 w 1809"/>
                <a:gd name="T61" fmla="*/ 1052 h 1253"/>
                <a:gd name="T62" fmla="*/ 488 w 1809"/>
                <a:gd name="T63" fmla="*/ 85 h 1253"/>
                <a:gd name="T64" fmla="*/ 509 w 1809"/>
                <a:gd name="T65" fmla="*/ 112 h 1253"/>
                <a:gd name="T66" fmla="*/ 548 w 1809"/>
                <a:gd name="T67" fmla="*/ 1187 h 1253"/>
                <a:gd name="T68" fmla="*/ 472 w 1809"/>
                <a:gd name="T69" fmla="*/ 1122 h 1253"/>
                <a:gd name="T70" fmla="*/ 558 w 1809"/>
                <a:gd name="T71" fmla="*/ 1157 h 1253"/>
                <a:gd name="T72" fmla="*/ 287 w 1809"/>
                <a:gd name="T73" fmla="*/ 654 h 1253"/>
                <a:gd name="T74" fmla="*/ 416 w 1809"/>
                <a:gd name="T75" fmla="*/ 684 h 1253"/>
                <a:gd name="T76" fmla="*/ 1106 w 1809"/>
                <a:gd name="T77" fmla="*/ 147 h 1253"/>
                <a:gd name="T78" fmla="*/ 1229 w 1809"/>
                <a:gd name="T79" fmla="*/ 258 h 1253"/>
                <a:gd name="T80" fmla="*/ 1106 w 1809"/>
                <a:gd name="T81" fmla="*/ 96 h 1253"/>
                <a:gd name="T82" fmla="*/ 1219 w 1809"/>
                <a:gd name="T83" fmla="*/ 1077 h 1253"/>
                <a:gd name="T84" fmla="*/ 1214 w 1809"/>
                <a:gd name="T85" fmla="*/ 1157 h 1253"/>
                <a:gd name="T86" fmla="*/ 1150 w 1809"/>
                <a:gd name="T87" fmla="*/ 1092 h 1253"/>
                <a:gd name="T88" fmla="*/ 1139 w 1809"/>
                <a:gd name="T89" fmla="*/ 1070 h 1253"/>
                <a:gd name="T90" fmla="*/ 1659 w 1809"/>
                <a:gd name="T91" fmla="*/ 1031 h 1253"/>
                <a:gd name="T92" fmla="*/ 1714 w 1809"/>
                <a:gd name="T93" fmla="*/ 1155 h 1253"/>
                <a:gd name="T94" fmla="*/ 1760 w 1809"/>
                <a:gd name="T95" fmla="*/ 1030 h 1253"/>
                <a:gd name="T96" fmla="*/ 111 w 1809"/>
                <a:gd name="T97" fmla="*/ 569 h 1253"/>
                <a:gd name="T98" fmla="*/ 109 w 1809"/>
                <a:gd name="T99" fmla="*/ 460 h 1253"/>
                <a:gd name="T100" fmla="*/ 32 w 1809"/>
                <a:gd name="T101" fmla="*/ 704 h 1253"/>
                <a:gd name="T102" fmla="*/ 310 w 1809"/>
                <a:gd name="T103" fmla="*/ 1058 h 1253"/>
                <a:gd name="T104" fmla="*/ 431 w 1809"/>
                <a:gd name="T105" fmla="*/ 1044 h 1253"/>
                <a:gd name="T106" fmla="*/ 278 w 1809"/>
                <a:gd name="T107" fmla="*/ 1165 h 1253"/>
                <a:gd name="T108" fmla="*/ 261 w 1809"/>
                <a:gd name="T109" fmla="*/ 540 h 1253"/>
                <a:gd name="T110" fmla="*/ 150 w 1809"/>
                <a:gd name="T111" fmla="*/ 635 h 1253"/>
                <a:gd name="T112" fmla="*/ 994 w 1809"/>
                <a:gd name="T113" fmla="*/ 1185 h 1253"/>
                <a:gd name="T114" fmla="*/ 331 w 1809"/>
                <a:gd name="T115" fmla="*/ 176 h 1253"/>
                <a:gd name="T116" fmla="*/ 333 w 1809"/>
                <a:gd name="T117" fmla="*/ 109 h 1253"/>
                <a:gd name="T118" fmla="*/ 946 w 1809"/>
                <a:gd name="T119" fmla="*/ 234 h 1253"/>
                <a:gd name="T120" fmla="*/ 1022 w 1809"/>
                <a:gd name="T121" fmla="*/ 113 h 1253"/>
                <a:gd name="T122" fmla="*/ 949 w 1809"/>
                <a:gd name="T123" fmla="*/ 65 h 1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09" h="1253">
                  <a:moveTo>
                    <a:pt x="248" y="198"/>
                  </a:moveTo>
                  <a:cubicBezTo>
                    <a:pt x="248" y="211"/>
                    <a:pt x="248" y="224"/>
                    <a:pt x="249" y="237"/>
                  </a:cubicBezTo>
                  <a:cubicBezTo>
                    <a:pt x="249" y="245"/>
                    <a:pt x="246" y="249"/>
                    <a:pt x="240" y="253"/>
                  </a:cubicBezTo>
                  <a:cubicBezTo>
                    <a:pt x="231" y="260"/>
                    <a:pt x="220" y="264"/>
                    <a:pt x="209" y="268"/>
                  </a:cubicBezTo>
                  <a:cubicBezTo>
                    <a:pt x="179" y="279"/>
                    <a:pt x="148" y="280"/>
                    <a:pt x="118" y="275"/>
                  </a:cubicBezTo>
                  <a:cubicBezTo>
                    <a:pt x="86" y="269"/>
                    <a:pt x="58" y="252"/>
                    <a:pt x="39" y="224"/>
                  </a:cubicBezTo>
                  <a:cubicBezTo>
                    <a:pt x="24" y="203"/>
                    <a:pt x="18" y="180"/>
                    <a:pt x="15" y="155"/>
                  </a:cubicBezTo>
                  <a:cubicBezTo>
                    <a:pt x="11" y="135"/>
                    <a:pt x="15" y="115"/>
                    <a:pt x="19" y="97"/>
                  </a:cubicBezTo>
                  <a:cubicBezTo>
                    <a:pt x="26" y="68"/>
                    <a:pt x="42" y="44"/>
                    <a:pt x="68" y="27"/>
                  </a:cubicBezTo>
                  <a:cubicBezTo>
                    <a:pt x="87" y="14"/>
                    <a:pt x="109" y="6"/>
                    <a:pt x="133" y="5"/>
                  </a:cubicBezTo>
                  <a:cubicBezTo>
                    <a:pt x="149" y="4"/>
                    <a:pt x="165" y="5"/>
                    <a:pt x="181" y="6"/>
                  </a:cubicBezTo>
                  <a:cubicBezTo>
                    <a:pt x="204" y="8"/>
                    <a:pt x="225" y="20"/>
                    <a:pt x="243" y="35"/>
                  </a:cubicBezTo>
                  <a:cubicBezTo>
                    <a:pt x="246" y="37"/>
                    <a:pt x="246" y="40"/>
                    <a:pt x="244" y="43"/>
                  </a:cubicBezTo>
                  <a:cubicBezTo>
                    <a:pt x="242" y="47"/>
                    <a:pt x="239" y="52"/>
                    <a:pt x="236" y="55"/>
                  </a:cubicBezTo>
                  <a:cubicBezTo>
                    <a:pt x="226" y="65"/>
                    <a:pt x="224" y="65"/>
                    <a:pt x="206" y="54"/>
                  </a:cubicBezTo>
                  <a:cubicBezTo>
                    <a:pt x="193" y="46"/>
                    <a:pt x="180" y="40"/>
                    <a:pt x="165" y="41"/>
                  </a:cubicBezTo>
                  <a:cubicBezTo>
                    <a:pt x="151" y="41"/>
                    <a:pt x="137" y="39"/>
                    <a:pt x="124" y="42"/>
                  </a:cubicBezTo>
                  <a:cubicBezTo>
                    <a:pt x="104" y="46"/>
                    <a:pt x="87" y="57"/>
                    <a:pt x="75" y="74"/>
                  </a:cubicBezTo>
                  <a:cubicBezTo>
                    <a:pt x="56" y="99"/>
                    <a:pt x="51" y="129"/>
                    <a:pt x="55" y="159"/>
                  </a:cubicBezTo>
                  <a:cubicBezTo>
                    <a:pt x="60" y="189"/>
                    <a:pt x="73" y="214"/>
                    <a:pt x="98" y="230"/>
                  </a:cubicBezTo>
                  <a:cubicBezTo>
                    <a:pt x="109" y="237"/>
                    <a:pt x="121" y="242"/>
                    <a:pt x="135" y="241"/>
                  </a:cubicBezTo>
                  <a:cubicBezTo>
                    <a:pt x="146" y="241"/>
                    <a:pt x="158" y="241"/>
                    <a:pt x="169" y="241"/>
                  </a:cubicBezTo>
                  <a:cubicBezTo>
                    <a:pt x="182" y="242"/>
                    <a:pt x="193" y="235"/>
                    <a:pt x="205" y="232"/>
                  </a:cubicBezTo>
                  <a:cubicBezTo>
                    <a:pt x="210" y="231"/>
                    <a:pt x="211" y="227"/>
                    <a:pt x="211" y="224"/>
                  </a:cubicBezTo>
                  <a:cubicBezTo>
                    <a:pt x="211" y="210"/>
                    <a:pt x="211" y="196"/>
                    <a:pt x="211" y="183"/>
                  </a:cubicBezTo>
                  <a:cubicBezTo>
                    <a:pt x="211" y="177"/>
                    <a:pt x="207" y="175"/>
                    <a:pt x="202" y="175"/>
                  </a:cubicBezTo>
                  <a:cubicBezTo>
                    <a:pt x="193" y="175"/>
                    <a:pt x="184" y="175"/>
                    <a:pt x="175" y="175"/>
                  </a:cubicBezTo>
                  <a:cubicBezTo>
                    <a:pt x="171" y="175"/>
                    <a:pt x="168" y="174"/>
                    <a:pt x="166" y="171"/>
                  </a:cubicBezTo>
                  <a:cubicBezTo>
                    <a:pt x="163" y="163"/>
                    <a:pt x="164" y="154"/>
                    <a:pt x="166" y="146"/>
                  </a:cubicBezTo>
                  <a:cubicBezTo>
                    <a:pt x="167" y="142"/>
                    <a:pt x="171" y="142"/>
                    <a:pt x="175" y="142"/>
                  </a:cubicBezTo>
                  <a:cubicBezTo>
                    <a:pt x="196" y="142"/>
                    <a:pt x="217" y="142"/>
                    <a:pt x="238" y="142"/>
                  </a:cubicBezTo>
                  <a:cubicBezTo>
                    <a:pt x="247" y="142"/>
                    <a:pt x="248" y="148"/>
                    <a:pt x="248" y="155"/>
                  </a:cubicBezTo>
                  <a:cubicBezTo>
                    <a:pt x="249" y="169"/>
                    <a:pt x="248" y="183"/>
                    <a:pt x="248" y="198"/>
                  </a:cubicBezTo>
                  <a:close/>
                  <a:moveTo>
                    <a:pt x="884" y="1181"/>
                  </a:moveTo>
                  <a:cubicBezTo>
                    <a:pt x="889" y="1167"/>
                    <a:pt x="894" y="1152"/>
                    <a:pt x="898" y="1137"/>
                  </a:cubicBezTo>
                  <a:cubicBezTo>
                    <a:pt x="901" y="1127"/>
                    <a:pt x="905" y="1116"/>
                    <a:pt x="908" y="1106"/>
                  </a:cubicBezTo>
                  <a:cubicBezTo>
                    <a:pt x="911" y="1098"/>
                    <a:pt x="912" y="1089"/>
                    <a:pt x="916" y="1081"/>
                  </a:cubicBezTo>
                  <a:cubicBezTo>
                    <a:pt x="921" y="1072"/>
                    <a:pt x="923" y="1060"/>
                    <a:pt x="927" y="1050"/>
                  </a:cubicBezTo>
                  <a:cubicBezTo>
                    <a:pt x="932" y="1037"/>
                    <a:pt x="934" y="1023"/>
                    <a:pt x="940" y="1010"/>
                  </a:cubicBezTo>
                  <a:cubicBezTo>
                    <a:pt x="945" y="1001"/>
                    <a:pt x="941" y="995"/>
                    <a:pt x="931" y="995"/>
                  </a:cubicBezTo>
                  <a:cubicBezTo>
                    <a:pt x="927" y="995"/>
                    <a:pt x="922" y="995"/>
                    <a:pt x="918" y="995"/>
                  </a:cubicBezTo>
                  <a:cubicBezTo>
                    <a:pt x="913" y="995"/>
                    <a:pt x="908" y="997"/>
                    <a:pt x="907" y="1001"/>
                  </a:cubicBezTo>
                  <a:cubicBezTo>
                    <a:pt x="904" y="1008"/>
                    <a:pt x="900" y="1015"/>
                    <a:pt x="899" y="1023"/>
                  </a:cubicBezTo>
                  <a:cubicBezTo>
                    <a:pt x="897" y="1034"/>
                    <a:pt x="893" y="1045"/>
                    <a:pt x="889" y="1055"/>
                  </a:cubicBezTo>
                  <a:cubicBezTo>
                    <a:pt x="887" y="1064"/>
                    <a:pt x="885" y="1072"/>
                    <a:pt x="882" y="1080"/>
                  </a:cubicBezTo>
                  <a:cubicBezTo>
                    <a:pt x="878" y="1091"/>
                    <a:pt x="874" y="1103"/>
                    <a:pt x="871" y="1115"/>
                  </a:cubicBezTo>
                  <a:cubicBezTo>
                    <a:pt x="870" y="1118"/>
                    <a:pt x="871" y="1124"/>
                    <a:pt x="866" y="1124"/>
                  </a:cubicBezTo>
                  <a:cubicBezTo>
                    <a:pt x="861" y="1125"/>
                    <a:pt x="859" y="1120"/>
                    <a:pt x="858" y="1115"/>
                  </a:cubicBezTo>
                  <a:cubicBezTo>
                    <a:pt x="856" y="1110"/>
                    <a:pt x="856" y="1104"/>
                    <a:pt x="854" y="1099"/>
                  </a:cubicBezTo>
                  <a:cubicBezTo>
                    <a:pt x="848" y="1080"/>
                    <a:pt x="841" y="1062"/>
                    <a:pt x="835" y="1044"/>
                  </a:cubicBezTo>
                  <a:cubicBezTo>
                    <a:pt x="831" y="1030"/>
                    <a:pt x="828" y="1016"/>
                    <a:pt x="822" y="1003"/>
                  </a:cubicBezTo>
                  <a:cubicBezTo>
                    <a:pt x="819" y="997"/>
                    <a:pt x="814" y="994"/>
                    <a:pt x="808" y="994"/>
                  </a:cubicBezTo>
                  <a:cubicBezTo>
                    <a:pt x="799" y="993"/>
                    <a:pt x="791" y="993"/>
                    <a:pt x="787" y="1001"/>
                  </a:cubicBezTo>
                  <a:cubicBezTo>
                    <a:pt x="783" y="1008"/>
                    <a:pt x="780" y="1015"/>
                    <a:pt x="779" y="1022"/>
                  </a:cubicBezTo>
                  <a:cubicBezTo>
                    <a:pt x="778" y="1034"/>
                    <a:pt x="772" y="1044"/>
                    <a:pt x="769" y="1055"/>
                  </a:cubicBezTo>
                  <a:cubicBezTo>
                    <a:pt x="762" y="1076"/>
                    <a:pt x="754" y="1096"/>
                    <a:pt x="749" y="1117"/>
                  </a:cubicBezTo>
                  <a:cubicBezTo>
                    <a:pt x="748" y="1120"/>
                    <a:pt x="747" y="1124"/>
                    <a:pt x="742" y="1124"/>
                  </a:cubicBezTo>
                  <a:cubicBezTo>
                    <a:pt x="737" y="1124"/>
                    <a:pt x="737" y="1120"/>
                    <a:pt x="736" y="1116"/>
                  </a:cubicBezTo>
                  <a:cubicBezTo>
                    <a:pt x="734" y="1104"/>
                    <a:pt x="730" y="1092"/>
                    <a:pt x="726" y="1080"/>
                  </a:cubicBezTo>
                  <a:cubicBezTo>
                    <a:pt x="720" y="1061"/>
                    <a:pt x="714" y="1040"/>
                    <a:pt x="708" y="1020"/>
                  </a:cubicBezTo>
                  <a:cubicBezTo>
                    <a:pt x="703" y="1000"/>
                    <a:pt x="698" y="994"/>
                    <a:pt x="676" y="995"/>
                  </a:cubicBezTo>
                  <a:cubicBezTo>
                    <a:pt x="665" y="996"/>
                    <a:pt x="661" y="1001"/>
                    <a:pt x="667" y="1011"/>
                  </a:cubicBezTo>
                  <a:cubicBezTo>
                    <a:pt x="669" y="1016"/>
                    <a:pt x="670" y="1021"/>
                    <a:pt x="672" y="1025"/>
                  </a:cubicBezTo>
                  <a:cubicBezTo>
                    <a:pt x="675" y="1035"/>
                    <a:pt x="678" y="1046"/>
                    <a:pt x="681" y="1055"/>
                  </a:cubicBezTo>
                  <a:cubicBezTo>
                    <a:pt x="685" y="1068"/>
                    <a:pt x="689" y="1080"/>
                    <a:pt x="693" y="1092"/>
                  </a:cubicBezTo>
                  <a:cubicBezTo>
                    <a:pt x="697" y="1103"/>
                    <a:pt x="699" y="1113"/>
                    <a:pt x="703" y="1124"/>
                  </a:cubicBezTo>
                  <a:cubicBezTo>
                    <a:pt x="707" y="1136"/>
                    <a:pt x="711" y="1147"/>
                    <a:pt x="715" y="1160"/>
                  </a:cubicBezTo>
                  <a:cubicBezTo>
                    <a:pt x="717" y="1168"/>
                    <a:pt x="720" y="1176"/>
                    <a:pt x="724" y="1183"/>
                  </a:cubicBezTo>
                  <a:cubicBezTo>
                    <a:pt x="728" y="1189"/>
                    <a:pt x="752" y="1185"/>
                    <a:pt x="757" y="1180"/>
                  </a:cubicBezTo>
                  <a:cubicBezTo>
                    <a:pt x="764" y="1173"/>
                    <a:pt x="762" y="1163"/>
                    <a:pt x="766" y="1156"/>
                  </a:cubicBezTo>
                  <a:cubicBezTo>
                    <a:pt x="774" y="1140"/>
                    <a:pt x="778" y="1122"/>
                    <a:pt x="784" y="1105"/>
                  </a:cubicBezTo>
                  <a:cubicBezTo>
                    <a:pt x="789" y="1088"/>
                    <a:pt x="796" y="1072"/>
                    <a:pt x="800" y="1054"/>
                  </a:cubicBezTo>
                  <a:cubicBezTo>
                    <a:pt x="800" y="1053"/>
                    <a:pt x="801" y="1050"/>
                    <a:pt x="803" y="1050"/>
                  </a:cubicBezTo>
                  <a:cubicBezTo>
                    <a:pt x="806" y="1050"/>
                    <a:pt x="806" y="1052"/>
                    <a:pt x="807" y="1055"/>
                  </a:cubicBezTo>
                  <a:cubicBezTo>
                    <a:pt x="807" y="1060"/>
                    <a:pt x="810" y="1066"/>
                    <a:pt x="811" y="1071"/>
                  </a:cubicBezTo>
                  <a:cubicBezTo>
                    <a:pt x="814" y="1081"/>
                    <a:pt x="818" y="1090"/>
                    <a:pt x="821" y="1099"/>
                  </a:cubicBezTo>
                  <a:cubicBezTo>
                    <a:pt x="824" y="1110"/>
                    <a:pt x="827" y="1120"/>
                    <a:pt x="831" y="1131"/>
                  </a:cubicBezTo>
                  <a:cubicBezTo>
                    <a:pt x="834" y="1142"/>
                    <a:pt x="839" y="1153"/>
                    <a:pt x="842" y="1164"/>
                  </a:cubicBezTo>
                  <a:cubicBezTo>
                    <a:pt x="846" y="1179"/>
                    <a:pt x="850" y="1188"/>
                    <a:pt x="869" y="1185"/>
                  </a:cubicBezTo>
                  <a:cubicBezTo>
                    <a:pt x="873" y="1184"/>
                    <a:pt x="881" y="1189"/>
                    <a:pt x="884" y="1181"/>
                  </a:cubicBezTo>
                  <a:close/>
                  <a:moveTo>
                    <a:pt x="33" y="1051"/>
                  </a:moveTo>
                  <a:cubicBezTo>
                    <a:pt x="33" y="1087"/>
                    <a:pt x="33" y="1124"/>
                    <a:pt x="33" y="1160"/>
                  </a:cubicBezTo>
                  <a:cubicBezTo>
                    <a:pt x="33" y="1188"/>
                    <a:pt x="29" y="1184"/>
                    <a:pt x="58" y="1185"/>
                  </a:cubicBezTo>
                  <a:cubicBezTo>
                    <a:pt x="72" y="1185"/>
                    <a:pt x="73" y="1184"/>
                    <a:pt x="73" y="1170"/>
                  </a:cubicBezTo>
                  <a:cubicBezTo>
                    <a:pt x="73" y="1138"/>
                    <a:pt x="73" y="1107"/>
                    <a:pt x="73" y="1076"/>
                  </a:cubicBezTo>
                  <a:cubicBezTo>
                    <a:pt x="73" y="1071"/>
                    <a:pt x="72" y="1067"/>
                    <a:pt x="78" y="1065"/>
                  </a:cubicBezTo>
                  <a:cubicBezTo>
                    <a:pt x="91" y="1062"/>
                    <a:pt x="102" y="1067"/>
                    <a:pt x="110" y="1076"/>
                  </a:cubicBezTo>
                  <a:cubicBezTo>
                    <a:pt x="112" y="1080"/>
                    <a:pt x="115" y="1083"/>
                    <a:pt x="118" y="1086"/>
                  </a:cubicBezTo>
                  <a:cubicBezTo>
                    <a:pt x="132" y="1103"/>
                    <a:pt x="146" y="1119"/>
                    <a:pt x="161" y="1136"/>
                  </a:cubicBezTo>
                  <a:cubicBezTo>
                    <a:pt x="173" y="1150"/>
                    <a:pt x="186" y="1165"/>
                    <a:pt x="198" y="1179"/>
                  </a:cubicBezTo>
                  <a:cubicBezTo>
                    <a:pt x="207" y="1188"/>
                    <a:pt x="218" y="1184"/>
                    <a:pt x="228" y="1185"/>
                  </a:cubicBezTo>
                  <a:cubicBezTo>
                    <a:pt x="233" y="1185"/>
                    <a:pt x="241" y="1188"/>
                    <a:pt x="244" y="1182"/>
                  </a:cubicBezTo>
                  <a:cubicBezTo>
                    <a:pt x="246" y="1178"/>
                    <a:pt x="239" y="1173"/>
                    <a:pt x="235" y="1169"/>
                  </a:cubicBezTo>
                  <a:cubicBezTo>
                    <a:pt x="206" y="1133"/>
                    <a:pt x="176" y="1098"/>
                    <a:pt x="146" y="1062"/>
                  </a:cubicBezTo>
                  <a:cubicBezTo>
                    <a:pt x="141" y="1056"/>
                    <a:pt x="131" y="1052"/>
                    <a:pt x="132" y="1044"/>
                  </a:cubicBezTo>
                  <a:cubicBezTo>
                    <a:pt x="132" y="1036"/>
                    <a:pt x="142" y="1032"/>
                    <a:pt x="147" y="1026"/>
                  </a:cubicBezTo>
                  <a:cubicBezTo>
                    <a:pt x="164" y="1006"/>
                    <a:pt x="182" y="988"/>
                    <a:pt x="198" y="968"/>
                  </a:cubicBezTo>
                  <a:cubicBezTo>
                    <a:pt x="209" y="954"/>
                    <a:pt x="221" y="942"/>
                    <a:pt x="234" y="929"/>
                  </a:cubicBezTo>
                  <a:cubicBezTo>
                    <a:pt x="236" y="926"/>
                    <a:pt x="238" y="923"/>
                    <a:pt x="237" y="920"/>
                  </a:cubicBezTo>
                  <a:cubicBezTo>
                    <a:pt x="235" y="915"/>
                    <a:pt x="231" y="917"/>
                    <a:pt x="228" y="917"/>
                  </a:cubicBezTo>
                  <a:cubicBezTo>
                    <a:pt x="224" y="918"/>
                    <a:pt x="221" y="918"/>
                    <a:pt x="217" y="918"/>
                  </a:cubicBezTo>
                  <a:cubicBezTo>
                    <a:pt x="204" y="917"/>
                    <a:pt x="193" y="922"/>
                    <a:pt x="185" y="931"/>
                  </a:cubicBezTo>
                  <a:cubicBezTo>
                    <a:pt x="172" y="946"/>
                    <a:pt x="158" y="961"/>
                    <a:pt x="145" y="977"/>
                  </a:cubicBezTo>
                  <a:cubicBezTo>
                    <a:pt x="131" y="993"/>
                    <a:pt x="117" y="1010"/>
                    <a:pt x="102" y="1026"/>
                  </a:cubicBezTo>
                  <a:cubicBezTo>
                    <a:pt x="96" y="1032"/>
                    <a:pt x="87" y="1037"/>
                    <a:pt x="78" y="1034"/>
                  </a:cubicBezTo>
                  <a:cubicBezTo>
                    <a:pt x="70" y="1030"/>
                    <a:pt x="73" y="1021"/>
                    <a:pt x="73" y="1015"/>
                  </a:cubicBezTo>
                  <a:cubicBezTo>
                    <a:pt x="73" y="991"/>
                    <a:pt x="73" y="967"/>
                    <a:pt x="73" y="944"/>
                  </a:cubicBezTo>
                  <a:cubicBezTo>
                    <a:pt x="73" y="916"/>
                    <a:pt x="75" y="917"/>
                    <a:pt x="46" y="918"/>
                  </a:cubicBezTo>
                  <a:cubicBezTo>
                    <a:pt x="33" y="918"/>
                    <a:pt x="33" y="918"/>
                    <a:pt x="33" y="931"/>
                  </a:cubicBezTo>
                  <a:cubicBezTo>
                    <a:pt x="33" y="971"/>
                    <a:pt x="33" y="1011"/>
                    <a:pt x="33" y="1051"/>
                  </a:cubicBezTo>
                  <a:cubicBezTo>
                    <a:pt x="33" y="1051"/>
                    <a:pt x="33" y="1051"/>
                    <a:pt x="33" y="1051"/>
                  </a:cubicBezTo>
                  <a:close/>
                  <a:moveTo>
                    <a:pt x="639" y="84"/>
                  </a:moveTo>
                  <a:cubicBezTo>
                    <a:pt x="627" y="84"/>
                    <a:pt x="626" y="84"/>
                    <a:pt x="629" y="95"/>
                  </a:cubicBezTo>
                  <a:cubicBezTo>
                    <a:pt x="634" y="113"/>
                    <a:pt x="640" y="131"/>
                    <a:pt x="646" y="148"/>
                  </a:cubicBezTo>
                  <a:cubicBezTo>
                    <a:pt x="652" y="166"/>
                    <a:pt x="658" y="185"/>
                    <a:pt x="664" y="203"/>
                  </a:cubicBezTo>
                  <a:cubicBezTo>
                    <a:pt x="671" y="223"/>
                    <a:pt x="676" y="244"/>
                    <a:pt x="684" y="264"/>
                  </a:cubicBezTo>
                  <a:cubicBezTo>
                    <a:pt x="688" y="274"/>
                    <a:pt x="694" y="274"/>
                    <a:pt x="702" y="274"/>
                  </a:cubicBezTo>
                  <a:cubicBezTo>
                    <a:pt x="711" y="274"/>
                    <a:pt x="719" y="272"/>
                    <a:pt x="723" y="263"/>
                  </a:cubicBezTo>
                  <a:cubicBezTo>
                    <a:pt x="733" y="236"/>
                    <a:pt x="741" y="208"/>
                    <a:pt x="750" y="181"/>
                  </a:cubicBezTo>
                  <a:cubicBezTo>
                    <a:pt x="754" y="169"/>
                    <a:pt x="757" y="156"/>
                    <a:pt x="763" y="145"/>
                  </a:cubicBezTo>
                  <a:cubicBezTo>
                    <a:pt x="764" y="143"/>
                    <a:pt x="764" y="140"/>
                    <a:pt x="767" y="140"/>
                  </a:cubicBezTo>
                  <a:cubicBezTo>
                    <a:pt x="770" y="140"/>
                    <a:pt x="770" y="143"/>
                    <a:pt x="771" y="145"/>
                  </a:cubicBezTo>
                  <a:cubicBezTo>
                    <a:pt x="771" y="156"/>
                    <a:pt x="777" y="165"/>
                    <a:pt x="780" y="175"/>
                  </a:cubicBezTo>
                  <a:cubicBezTo>
                    <a:pt x="782" y="184"/>
                    <a:pt x="785" y="193"/>
                    <a:pt x="788" y="201"/>
                  </a:cubicBezTo>
                  <a:cubicBezTo>
                    <a:pt x="794" y="219"/>
                    <a:pt x="801" y="237"/>
                    <a:pt x="806" y="255"/>
                  </a:cubicBezTo>
                  <a:cubicBezTo>
                    <a:pt x="811" y="272"/>
                    <a:pt x="825" y="280"/>
                    <a:pt x="842" y="273"/>
                  </a:cubicBezTo>
                  <a:cubicBezTo>
                    <a:pt x="845" y="271"/>
                    <a:pt x="847" y="269"/>
                    <a:pt x="848" y="266"/>
                  </a:cubicBezTo>
                  <a:cubicBezTo>
                    <a:pt x="853" y="251"/>
                    <a:pt x="859" y="236"/>
                    <a:pt x="863" y="221"/>
                  </a:cubicBezTo>
                  <a:cubicBezTo>
                    <a:pt x="867" y="202"/>
                    <a:pt x="875" y="185"/>
                    <a:pt x="880" y="166"/>
                  </a:cubicBezTo>
                  <a:cubicBezTo>
                    <a:pt x="886" y="144"/>
                    <a:pt x="895" y="123"/>
                    <a:pt x="900" y="101"/>
                  </a:cubicBezTo>
                  <a:cubicBezTo>
                    <a:pt x="901" y="96"/>
                    <a:pt x="909" y="91"/>
                    <a:pt x="904" y="86"/>
                  </a:cubicBezTo>
                  <a:cubicBezTo>
                    <a:pt x="900" y="81"/>
                    <a:pt x="892" y="84"/>
                    <a:pt x="886" y="84"/>
                  </a:cubicBezTo>
                  <a:cubicBezTo>
                    <a:pt x="885" y="84"/>
                    <a:pt x="883" y="84"/>
                    <a:pt x="881" y="84"/>
                  </a:cubicBezTo>
                  <a:cubicBezTo>
                    <a:pt x="875" y="84"/>
                    <a:pt x="872" y="86"/>
                    <a:pt x="869" y="91"/>
                  </a:cubicBezTo>
                  <a:cubicBezTo>
                    <a:pt x="860" y="110"/>
                    <a:pt x="856" y="131"/>
                    <a:pt x="850" y="151"/>
                  </a:cubicBezTo>
                  <a:cubicBezTo>
                    <a:pt x="844" y="170"/>
                    <a:pt x="836" y="188"/>
                    <a:pt x="834" y="208"/>
                  </a:cubicBezTo>
                  <a:cubicBezTo>
                    <a:pt x="833" y="211"/>
                    <a:pt x="831" y="214"/>
                    <a:pt x="827" y="214"/>
                  </a:cubicBezTo>
                  <a:cubicBezTo>
                    <a:pt x="823" y="214"/>
                    <a:pt x="822" y="210"/>
                    <a:pt x="822" y="207"/>
                  </a:cubicBezTo>
                  <a:cubicBezTo>
                    <a:pt x="817" y="188"/>
                    <a:pt x="811" y="170"/>
                    <a:pt x="805" y="152"/>
                  </a:cubicBezTo>
                  <a:cubicBezTo>
                    <a:pt x="799" y="133"/>
                    <a:pt x="794" y="114"/>
                    <a:pt x="786" y="96"/>
                  </a:cubicBezTo>
                  <a:cubicBezTo>
                    <a:pt x="783" y="87"/>
                    <a:pt x="779" y="84"/>
                    <a:pt x="770" y="84"/>
                  </a:cubicBezTo>
                  <a:cubicBezTo>
                    <a:pt x="761" y="84"/>
                    <a:pt x="752" y="82"/>
                    <a:pt x="748" y="94"/>
                  </a:cubicBezTo>
                  <a:cubicBezTo>
                    <a:pt x="744" y="109"/>
                    <a:pt x="738" y="123"/>
                    <a:pt x="734" y="138"/>
                  </a:cubicBezTo>
                  <a:cubicBezTo>
                    <a:pt x="729" y="153"/>
                    <a:pt x="724" y="167"/>
                    <a:pt x="719" y="182"/>
                  </a:cubicBezTo>
                  <a:cubicBezTo>
                    <a:pt x="716" y="192"/>
                    <a:pt x="715" y="203"/>
                    <a:pt x="708" y="212"/>
                  </a:cubicBezTo>
                  <a:cubicBezTo>
                    <a:pt x="707" y="214"/>
                    <a:pt x="707" y="217"/>
                    <a:pt x="704" y="217"/>
                  </a:cubicBezTo>
                  <a:cubicBezTo>
                    <a:pt x="701" y="217"/>
                    <a:pt x="701" y="213"/>
                    <a:pt x="700" y="211"/>
                  </a:cubicBezTo>
                  <a:cubicBezTo>
                    <a:pt x="699" y="198"/>
                    <a:pt x="694" y="186"/>
                    <a:pt x="690" y="174"/>
                  </a:cubicBezTo>
                  <a:cubicBezTo>
                    <a:pt x="684" y="153"/>
                    <a:pt x="677" y="131"/>
                    <a:pt x="672" y="110"/>
                  </a:cubicBezTo>
                  <a:cubicBezTo>
                    <a:pt x="667" y="88"/>
                    <a:pt x="663" y="84"/>
                    <a:pt x="645" y="84"/>
                  </a:cubicBezTo>
                  <a:cubicBezTo>
                    <a:pt x="643" y="84"/>
                    <a:pt x="641" y="84"/>
                    <a:pt x="639" y="84"/>
                  </a:cubicBezTo>
                  <a:close/>
                  <a:moveTo>
                    <a:pt x="507" y="711"/>
                  </a:moveTo>
                  <a:cubicBezTo>
                    <a:pt x="507" y="730"/>
                    <a:pt x="507" y="730"/>
                    <a:pt x="526" y="730"/>
                  </a:cubicBezTo>
                  <a:cubicBezTo>
                    <a:pt x="539" y="730"/>
                    <a:pt x="541" y="729"/>
                    <a:pt x="541" y="715"/>
                  </a:cubicBezTo>
                  <a:cubicBezTo>
                    <a:pt x="541" y="677"/>
                    <a:pt x="541" y="638"/>
                    <a:pt x="540" y="600"/>
                  </a:cubicBezTo>
                  <a:cubicBezTo>
                    <a:pt x="540" y="593"/>
                    <a:pt x="543" y="587"/>
                    <a:pt x="548" y="582"/>
                  </a:cubicBezTo>
                  <a:cubicBezTo>
                    <a:pt x="553" y="576"/>
                    <a:pt x="559" y="573"/>
                    <a:pt x="564" y="569"/>
                  </a:cubicBezTo>
                  <a:cubicBezTo>
                    <a:pt x="574" y="564"/>
                    <a:pt x="594" y="566"/>
                    <a:pt x="602" y="574"/>
                  </a:cubicBezTo>
                  <a:cubicBezTo>
                    <a:pt x="611" y="582"/>
                    <a:pt x="614" y="592"/>
                    <a:pt x="614" y="604"/>
                  </a:cubicBezTo>
                  <a:cubicBezTo>
                    <a:pt x="614" y="638"/>
                    <a:pt x="614" y="672"/>
                    <a:pt x="614" y="706"/>
                  </a:cubicBezTo>
                  <a:cubicBezTo>
                    <a:pt x="614" y="730"/>
                    <a:pt x="614" y="730"/>
                    <a:pt x="638" y="730"/>
                  </a:cubicBezTo>
                  <a:cubicBezTo>
                    <a:pt x="650" y="730"/>
                    <a:pt x="650" y="730"/>
                    <a:pt x="650" y="717"/>
                  </a:cubicBezTo>
                  <a:cubicBezTo>
                    <a:pt x="650" y="684"/>
                    <a:pt x="650" y="650"/>
                    <a:pt x="650" y="617"/>
                  </a:cubicBezTo>
                  <a:cubicBezTo>
                    <a:pt x="650" y="606"/>
                    <a:pt x="651" y="597"/>
                    <a:pt x="657" y="586"/>
                  </a:cubicBezTo>
                  <a:cubicBezTo>
                    <a:pt x="667" y="565"/>
                    <a:pt x="703" y="560"/>
                    <a:pt x="716" y="579"/>
                  </a:cubicBezTo>
                  <a:cubicBezTo>
                    <a:pt x="723" y="588"/>
                    <a:pt x="724" y="598"/>
                    <a:pt x="724" y="609"/>
                  </a:cubicBezTo>
                  <a:cubicBezTo>
                    <a:pt x="724" y="645"/>
                    <a:pt x="724" y="682"/>
                    <a:pt x="724" y="718"/>
                  </a:cubicBezTo>
                  <a:cubicBezTo>
                    <a:pt x="724" y="727"/>
                    <a:pt x="727" y="731"/>
                    <a:pt x="736" y="730"/>
                  </a:cubicBezTo>
                  <a:cubicBezTo>
                    <a:pt x="738" y="730"/>
                    <a:pt x="741" y="730"/>
                    <a:pt x="743" y="730"/>
                  </a:cubicBezTo>
                  <a:cubicBezTo>
                    <a:pt x="758" y="730"/>
                    <a:pt x="759" y="729"/>
                    <a:pt x="759" y="715"/>
                  </a:cubicBezTo>
                  <a:cubicBezTo>
                    <a:pt x="759" y="677"/>
                    <a:pt x="758" y="639"/>
                    <a:pt x="759" y="601"/>
                  </a:cubicBezTo>
                  <a:cubicBezTo>
                    <a:pt x="759" y="571"/>
                    <a:pt x="742" y="540"/>
                    <a:pt x="704" y="538"/>
                  </a:cubicBezTo>
                  <a:cubicBezTo>
                    <a:pt x="681" y="536"/>
                    <a:pt x="661" y="542"/>
                    <a:pt x="646" y="560"/>
                  </a:cubicBezTo>
                  <a:cubicBezTo>
                    <a:pt x="638" y="569"/>
                    <a:pt x="638" y="569"/>
                    <a:pt x="631" y="559"/>
                  </a:cubicBezTo>
                  <a:cubicBezTo>
                    <a:pt x="630" y="558"/>
                    <a:pt x="630" y="557"/>
                    <a:pt x="629" y="556"/>
                  </a:cubicBezTo>
                  <a:cubicBezTo>
                    <a:pt x="623" y="548"/>
                    <a:pt x="616" y="541"/>
                    <a:pt x="607" y="539"/>
                  </a:cubicBezTo>
                  <a:cubicBezTo>
                    <a:pt x="584" y="534"/>
                    <a:pt x="563" y="539"/>
                    <a:pt x="545" y="555"/>
                  </a:cubicBezTo>
                  <a:cubicBezTo>
                    <a:pt x="540" y="559"/>
                    <a:pt x="537" y="561"/>
                    <a:pt x="537" y="552"/>
                  </a:cubicBezTo>
                  <a:cubicBezTo>
                    <a:pt x="536" y="543"/>
                    <a:pt x="526" y="538"/>
                    <a:pt x="515" y="539"/>
                  </a:cubicBezTo>
                  <a:cubicBezTo>
                    <a:pt x="506" y="540"/>
                    <a:pt x="507" y="546"/>
                    <a:pt x="507" y="552"/>
                  </a:cubicBezTo>
                  <a:cubicBezTo>
                    <a:pt x="507" y="580"/>
                    <a:pt x="507" y="607"/>
                    <a:pt x="507" y="634"/>
                  </a:cubicBezTo>
                  <a:cubicBezTo>
                    <a:pt x="507" y="660"/>
                    <a:pt x="507" y="685"/>
                    <a:pt x="507" y="711"/>
                  </a:cubicBezTo>
                  <a:close/>
                  <a:moveTo>
                    <a:pt x="1525" y="1142"/>
                  </a:moveTo>
                  <a:cubicBezTo>
                    <a:pt x="1517" y="1143"/>
                    <a:pt x="1511" y="1141"/>
                    <a:pt x="1505" y="1136"/>
                  </a:cubicBezTo>
                  <a:cubicBezTo>
                    <a:pt x="1501" y="1133"/>
                    <a:pt x="1495" y="1130"/>
                    <a:pt x="1498" y="1124"/>
                  </a:cubicBezTo>
                  <a:cubicBezTo>
                    <a:pt x="1500" y="1118"/>
                    <a:pt x="1504" y="1114"/>
                    <a:pt x="1512" y="1114"/>
                  </a:cubicBezTo>
                  <a:cubicBezTo>
                    <a:pt x="1521" y="1115"/>
                    <a:pt x="1530" y="1114"/>
                    <a:pt x="1538" y="1115"/>
                  </a:cubicBezTo>
                  <a:cubicBezTo>
                    <a:pt x="1573" y="1117"/>
                    <a:pt x="1610" y="1084"/>
                    <a:pt x="1602" y="1044"/>
                  </a:cubicBezTo>
                  <a:cubicBezTo>
                    <a:pt x="1600" y="1035"/>
                    <a:pt x="1599" y="1028"/>
                    <a:pt x="1611" y="1027"/>
                  </a:cubicBezTo>
                  <a:cubicBezTo>
                    <a:pt x="1614" y="1027"/>
                    <a:pt x="1617" y="1024"/>
                    <a:pt x="1619" y="1023"/>
                  </a:cubicBezTo>
                  <a:cubicBezTo>
                    <a:pt x="1626" y="1019"/>
                    <a:pt x="1624" y="1013"/>
                    <a:pt x="1623" y="1008"/>
                  </a:cubicBezTo>
                  <a:cubicBezTo>
                    <a:pt x="1623" y="1002"/>
                    <a:pt x="1618" y="1003"/>
                    <a:pt x="1613" y="1002"/>
                  </a:cubicBezTo>
                  <a:cubicBezTo>
                    <a:pt x="1598" y="1002"/>
                    <a:pt x="1582" y="1004"/>
                    <a:pt x="1567" y="1000"/>
                  </a:cubicBezTo>
                  <a:cubicBezTo>
                    <a:pt x="1560" y="999"/>
                    <a:pt x="1554" y="993"/>
                    <a:pt x="1546" y="993"/>
                  </a:cubicBezTo>
                  <a:cubicBezTo>
                    <a:pt x="1536" y="994"/>
                    <a:pt x="1525" y="992"/>
                    <a:pt x="1515" y="993"/>
                  </a:cubicBezTo>
                  <a:cubicBezTo>
                    <a:pt x="1490" y="997"/>
                    <a:pt x="1469" y="1010"/>
                    <a:pt x="1462" y="1034"/>
                  </a:cubicBezTo>
                  <a:cubicBezTo>
                    <a:pt x="1455" y="1056"/>
                    <a:pt x="1457" y="1079"/>
                    <a:pt x="1476" y="1096"/>
                  </a:cubicBezTo>
                  <a:cubicBezTo>
                    <a:pt x="1483" y="1103"/>
                    <a:pt x="1483" y="1107"/>
                    <a:pt x="1476" y="1113"/>
                  </a:cubicBezTo>
                  <a:cubicBezTo>
                    <a:pt x="1462" y="1126"/>
                    <a:pt x="1462" y="1142"/>
                    <a:pt x="1473" y="1157"/>
                  </a:cubicBezTo>
                  <a:cubicBezTo>
                    <a:pt x="1476" y="1160"/>
                    <a:pt x="1476" y="1162"/>
                    <a:pt x="1472" y="1164"/>
                  </a:cubicBezTo>
                  <a:cubicBezTo>
                    <a:pt x="1470" y="1166"/>
                    <a:pt x="1468" y="1168"/>
                    <a:pt x="1466" y="1170"/>
                  </a:cubicBezTo>
                  <a:cubicBezTo>
                    <a:pt x="1449" y="1183"/>
                    <a:pt x="1444" y="1201"/>
                    <a:pt x="1454" y="1218"/>
                  </a:cubicBezTo>
                  <a:cubicBezTo>
                    <a:pt x="1464" y="1235"/>
                    <a:pt x="1479" y="1246"/>
                    <a:pt x="1499" y="1249"/>
                  </a:cubicBezTo>
                  <a:cubicBezTo>
                    <a:pt x="1517" y="1252"/>
                    <a:pt x="1535" y="1253"/>
                    <a:pt x="1553" y="1250"/>
                  </a:cubicBezTo>
                  <a:cubicBezTo>
                    <a:pt x="1584" y="1245"/>
                    <a:pt x="1607" y="1232"/>
                    <a:pt x="1619" y="1200"/>
                  </a:cubicBezTo>
                  <a:cubicBezTo>
                    <a:pt x="1627" y="1180"/>
                    <a:pt x="1611" y="1155"/>
                    <a:pt x="1593" y="1148"/>
                  </a:cubicBezTo>
                  <a:cubicBezTo>
                    <a:pt x="1578" y="1142"/>
                    <a:pt x="1563" y="1143"/>
                    <a:pt x="1549" y="1142"/>
                  </a:cubicBezTo>
                  <a:cubicBezTo>
                    <a:pt x="1540" y="1142"/>
                    <a:pt x="1532" y="1142"/>
                    <a:pt x="1525" y="1142"/>
                  </a:cubicBezTo>
                  <a:close/>
                  <a:moveTo>
                    <a:pt x="1556" y="1172"/>
                  </a:moveTo>
                  <a:cubicBezTo>
                    <a:pt x="1566" y="1172"/>
                    <a:pt x="1576" y="1176"/>
                    <a:pt x="1583" y="1183"/>
                  </a:cubicBezTo>
                  <a:cubicBezTo>
                    <a:pt x="1589" y="1190"/>
                    <a:pt x="1589" y="1198"/>
                    <a:pt x="1583" y="1205"/>
                  </a:cubicBezTo>
                  <a:cubicBezTo>
                    <a:pt x="1575" y="1215"/>
                    <a:pt x="1565" y="1220"/>
                    <a:pt x="1553" y="1223"/>
                  </a:cubicBezTo>
                  <a:cubicBezTo>
                    <a:pt x="1534" y="1228"/>
                    <a:pt x="1516" y="1225"/>
                    <a:pt x="1499" y="1219"/>
                  </a:cubicBezTo>
                  <a:cubicBezTo>
                    <a:pt x="1486" y="1214"/>
                    <a:pt x="1479" y="1203"/>
                    <a:pt x="1482" y="1193"/>
                  </a:cubicBezTo>
                  <a:cubicBezTo>
                    <a:pt x="1485" y="1182"/>
                    <a:pt x="1496" y="1168"/>
                    <a:pt x="1514" y="1171"/>
                  </a:cubicBezTo>
                  <a:cubicBezTo>
                    <a:pt x="1526" y="1173"/>
                    <a:pt x="1541" y="1171"/>
                    <a:pt x="1556" y="1172"/>
                  </a:cubicBezTo>
                  <a:close/>
                  <a:moveTo>
                    <a:pt x="1531" y="1019"/>
                  </a:moveTo>
                  <a:cubicBezTo>
                    <a:pt x="1553" y="1017"/>
                    <a:pt x="1570" y="1033"/>
                    <a:pt x="1570" y="1052"/>
                  </a:cubicBezTo>
                  <a:cubicBezTo>
                    <a:pt x="1570" y="1075"/>
                    <a:pt x="1554" y="1093"/>
                    <a:pt x="1532" y="1091"/>
                  </a:cubicBezTo>
                  <a:cubicBezTo>
                    <a:pt x="1508" y="1089"/>
                    <a:pt x="1494" y="1082"/>
                    <a:pt x="1493" y="1053"/>
                  </a:cubicBezTo>
                  <a:cubicBezTo>
                    <a:pt x="1494" y="1029"/>
                    <a:pt x="1508" y="1020"/>
                    <a:pt x="1531" y="1019"/>
                  </a:cubicBezTo>
                  <a:close/>
                  <a:moveTo>
                    <a:pt x="1413" y="934"/>
                  </a:moveTo>
                  <a:cubicBezTo>
                    <a:pt x="1413" y="909"/>
                    <a:pt x="1413" y="909"/>
                    <a:pt x="1389" y="910"/>
                  </a:cubicBezTo>
                  <a:cubicBezTo>
                    <a:pt x="1388" y="910"/>
                    <a:pt x="1387" y="910"/>
                    <a:pt x="1387" y="910"/>
                  </a:cubicBezTo>
                  <a:cubicBezTo>
                    <a:pt x="1379" y="910"/>
                    <a:pt x="1376" y="915"/>
                    <a:pt x="1376" y="921"/>
                  </a:cubicBezTo>
                  <a:cubicBezTo>
                    <a:pt x="1376" y="939"/>
                    <a:pt x="1377" y="956"/>
                    <a:pt x="1377" y="974"/>
                  </a:cubicBezTo>
                  <a:cubicBezTo>
                    <a:pt x="1377" y="983"/>
                    <a:pt x="1377" y="991"/>
                    <a:pt x="1377" y="1000"/>
                  </a:cubicBezTo>
                  <a:cubicBezTo>
                    <a:pt x="1377" y="1005"/>
                    <a:pt x="1374" y="1009"/>
                    <a:pt x="1369" y="1005"/>
                  </a:cubicBezTo>
                  <a:cubicBezTo>
                    <a:pt x="1352" y="990"/>
                    <a:pt x="1332" y="993"/>
                    <a:pt x="1312" y="993"/>
                  </a:cubicBezTo>
                  <a:cubicBezTo>
                    <a:pt x="1303" y="994"/>
                    <a:pt x="1294" y="998"/>
                    <a:pt x="1287" y="1003"/>
                  </a:cubicBezTo>
                  <a:cubicBezTo>
                    <a:pt x="1265" y="1017"/>
                    <a:pt x="1252" y="1039"/>
                    <a:pt x="1248" y="1065"/>
                  </a:cubicBezTo>
                  <a:cubicBezTo>
                    <a:pt x="1244" y="1096"/>
                    <a:pt x="1244" y="1128"/>
                    <a:pt x="1261" y="1157"/>
                  </a:cubicBezTo>
                  <a:cubicBezTo>
                    <a:pt x="1270" y="1170"/>
                    <a:pt x="1281" y="1181"/>
                    <a:pt x="1296" y="1185"/>
                  </a:cubicBezTo>
                  <a:cubicBezTo>
                    <a:pt x="1323" y="1191"/>
                    <a:pt x="1349" y="1188"/>
                    <a:pt x="1370" y="1167"/>
                  </a:cubicBezTo>
                  <a:cubicBezTo>
                    <a:pt x="1372" y="1165"/>
                    <a:pt x="1375" y="1162"/>
                    <a:pt x="1379" y="1163"/>
                  </a:cubicBezTo>
                  <a:cubicBezTo>
                    <a:pt x="1382" y="1165"/>
                    <a:pt x="1381" y="1169"/>
                    <a:pt x="1381" y="1172"/>
                  </a:cubicBezTo>
                  <a:cubicBezTo>
                    <a:pt x="1383" y="1181"/>
                    <a:pt x="1390" y="1186"/>
                    <a:pt x="1403" y="1186"/>
                  </a:cubicBezTo>
                  <a:cubicBezTo>
                    <a:pt x="1413" y="1185"/>
                    <a:pt x="1413" y="1178"/>
                    <a:pt x="1413" y="1172"/>
                  </a:cubicBezTo>
                  <a:cubicBezTo>
                    <a:pt x="1413" y="1131"/>
                    <a:pt x="1413" y="1090"/>
                    <a:pt x="1413" y="1049"/>
                  </a:cubicBezTo>
                  <a:cubicBezTo>
                    <a:pt x="1413" y="1010"/>
                    <a:pt x="1413" y="972"/>
                    <a:pt x="1413" y="934"/>
                  </a:cubicBezTo>
                  <a:close/>
                  <a:moveTo>
                    <a:pt x="1378" y="1113"/>
                  </a:moveTo>
                  <a:cubicBezTo>
                    <a:pt x="1378" y="1136"/>
                    <a:pt x="1360" y="1155"/>
                    <a:pt x="1337" y="1157"/>
                  </a:cubicBezTo>
                  <a:cubicBezTo>
                    <a:pt x="1319" y="1159"/>
                    <a:pt x="1304" y="1154"/>
                    <a:pt x="1294" y="1139"/>
                  </a:cubicBezTo>
                  <a:cubicBezTo>
                    <a:pt x="1286" y="1128"/>
                    <a:pt x="1283" y="1116"/>
                    <a:pt x="1283" y="1102"/>
                  </a:cubicBezTo>
                  <a:cubicBezTo>
                    <a:pt x="1282" y="1085"/>
                    <a:pt x="1282" y="1067"/>
                    <a:pt x="1290" y="1051"/>
                  </a:cubicBezTo>
                  <a:cubicBezTo>
                    <a:pt x="1297" y="1036"/>
                    <a:pt x="1308" y="1024"/>
                    <a:pt x="1325" y="1022"/>
                  </a:cubicBezTo>
                  <a:cubicBezTo>
                    <a:pt x="1342" y="1020"/>
                    <a:pt x="1358" y="1021"/>
                    <a:pt x="1371" y="1035"/>
                  </a:cubicBezTo>
                  <a:cubicBezTo>
                    <a:pt x="1376" y="1041"/>
                    <a:pt x="1378" y="1046"/>
                    <a:pt x="1378" y="1052"/>
                  </a:cubicBezTo>
                  <a:cubicBezTo>
                    <a:pt x="1378" y="1064"/>
                    <a:pt x="1378" y="1075"/>
                    <a:pt x="1378" y="1086"/>
                  </a:cubicBezTo>
                  <a:cubicBezTo>
                    <a:pt x="1378" y="1086"/>
                    <a:pt x="1378" y="1086"/>
                    <a:pt x="1378" y="1086"/>
                  </a:cubicBezTo>
                  <a:cubicBezTo>
                    <a:pt x="1378" y="1095"/>
                    <a:pt x="1378" y="1104"/>
                    <a:pt x="1378" y="1113"/>
                  </a:cubicBezTo>
                  <a:close/>
                  <a:moveTo>
                    <a:pt x="578" y="259"/>
                  </a:moveTo>
                  <a:cubicBezTo>
                    <a:pt x="603" y="241"/>
                    <a:pt x="611" y="213"/>
                    <a:pt x="614" y="183"/>
                  </a:cubicBezTo>
                  <a:cubicBezTo>
                    <a:pt x="615" y="171"/>
                    <a:pt x="610" y="159"/>
                    <a:pt x="609" y="147"/>
                  </a:cubicBezTo>
                  <a:cubicBezTo>
                    <a:pt x="608" y="137"/>
                    <a:pt x="603" y="129"/>
                    <a:pt x="599" y="121"/>
                  </a:cubicBezTo>
                  <a:cubicBezTo>
                    <a:pt x="579" y="87"/>
                    <a:pt x="527" y="70"/>
                    <a:pt x="488" y="85"/>
                  </a:cubicBezTo>
                  <a:cubicBezTo>
                    <a:pt x="453" y="99"/>
                    <a:pt x="436" y="127"/>
                    <a:pt x="431" y="163"/>
                  </a:cubicBezTo>
                  <a:cubicBezTo>
                    <a:pt x="429" y="180"/>
                    <a:pt x="430" y="196"/>
                    <a:pt x="436" y="213"/>
                  </a:cubicBezTo>
                  <a:cubicBezTo>
                    <a:pt x="439" y="222"/>
                    <a:pt x="442" y="232"/>
                    <a:pt x="447" y="239"/>
                  </a:cubicBezTo>
                  <a:cubicBezTo>
                    <a:pt x="465" y="265"/>
                    <a:pt x="491" y="277"/>
                    <a:pt x="525" y="276"/>
                  </a:cubicBezTo>
                  <a:cubicBezTo>
                    <a:pt x="543" y="278"/>
                    <a:pt x="562" y="271"/>
                    <a:pt x="578" y="259"/>
                  </a:cubicBezTo>
                  <a:close/>
                  <a:moveTo>
                    <a:pt x="471" y="205"/>
                  </a:moveTo>
                  <a:cubicBezTo>
                    <a:pt x="466" y="185"/>
                    <a:pt x="468" y="167"/>
                    <a:pt x="472" y="147"/>
                  </a:cubicBezTo>
                  <a:cubicBezTo>
                    <a:pt x="477" y="130"/>
                    <a:pt x="493" y="116"/>
                    <a:pt x="509" y="112"/>
                  </a:cubicBezTo>
                  <a:cubicBezTo>
                    <a:pt x="525" y="108"/>
                    <a:pt x="539" y="110"/>
                    <a:pt x="553" y="119"/>
                  </a:cubicBezTo>
                  <a:cubicBezTo>
                    <a:pt x="563" y="125"/>
                    <a:pt x="568" y="135"/>
                    <a:pt x="571" y="146"/>
                  </a:cubicBezTo>
                  <a:cubicBezTo>
                    <a:pt x="577" y="167"/>
                    <a:pt x="578" y="189"/>
                    <a:pt x="571" y="211"/>
                  </a:cubicBezTo>
                  <a:cubicBezTo>
                    <a:pt x="565" y="231"/>
                    <a:pt x="549" y="249"/>
                    <a:pt x="521" y="247"/>
                  </a:cubicBezTo>
                  <a:cubicBezTo>
                    <a:pt x="496" y="247"/>
                    <a:pt x="478" y="230"/>
                    <a:pt x="471" y="205"/>
                  </a:cubicBezTo>
                  <a:close/>
                  <a:moveTo>
                    <a:pt x="472" y="1122"/>
                  </a:moveTo>
                  <a:cubicBezTo>
                    <a:pt x="475" y="1136"/>
                    <a:pt x="481" y="1148"/>
                    <a:pt x="491" y="1158"/>
                  </a:cubicBezTo>
                  <a:cubicBezTo>
                    <a:pt x="506" y="1176"/>
                    <a:pt x="524" y="1185"/>
                    <a:pt x="548" y="1187"/>
                  </a:cubicBezTo>
                  <a:cubicBezTo>
                    <a:pt x="568" y="1188"/>
                    <a:pt x="587" y="1187"/>
                    <a:pt x="605" y="1177"/>
                  </a:cubicBezTo>
                  <a:cubicBezTo>
                    <a:pt x="632" y="1162"/>
                    <a:pt x="644" y="1136"/>
                    <a:pt x="649" y="1107"/>
                  </a:cubicBezTo>
                  <a:cubicBezTo>
                    <a:pt x="652" y="1089"/>
                    <a:pt x="649" y="1072"/>
                    <a:pt x="644" y="1054"/>
                  </a:cubicBezTo>
                  <a:cubicBezTo>
                    <a:pt x="638" y="1034"/>
                    <a:pt x="627" y="1019"/>
                    <a:pt x="610" y="1007"/>
                  </a:cubicBezTo>
                  <a:cubicBezTo>
                    <a:pt x="589" y="992"/>
                    <a:pt x="566" y="991"/>
                    <a:pt x="541" y="994"/>
                  </a:cubicBezTo>
                  <a:cubicBezTo>
                    <a:pt x="526" y="995"/>
                    <a:pt x="512" y="1002"/>
                    <a:pt x="500" y="1012"/>
                  </a:cubicBezTo>
                  <a:cubicBezTo>
                    <a:pt x="476" y="1032"/>
                    <a:pt x="469" y="1060"/>
                    <a:pt x="466" y="1095"/>
                  </a:cubicBezTo>
                  <a:cubicBezTo>
                    <a:pt x="465" y="1101"/>
                    <a:pt x="470" y="1111"/>
                    <a:pt x="472" y="1122"/>
                  </a:cubicBezTo>
                  <a:close/>
                  <a:moveTo>
                    <a:pt x="508" y="1113"/>
                  </a:moveTo>
                  <a:cubicBezTo>
                    <a:pt x="505" y="1095"/>
                    <a:pt x="506" y="1078"/>
                    <a:pt x="508" y="1061"/>
                  </a:cubicBezTo>
                  <a:cubicBezTo>
                    <a:pt x="511" y="1042"/>
                    <a:pt x="538" y="1021"/>
                    <a:pt x="554" y="1022"/>
                  </a:cubicBezTo>
                  <a:cubicBezTo>
                    <a:pt x="570" y="1022"/>
                    <a:pt x="586" y="1024"/>
                    <a:pt x="596" y="1037"/>
                  </a:cubicBezTo>
                  <a:cubicBezTo>
                    <a:pt x="602" y="1044"/>
                    <a:pt x="607" y="1052"/>
                    <a:pt x="608" y="1061"/>
                  </a:cubicBezTo>
                  <a:cubicBezTo>
                    <a:pt x="608" y="1064"/>
                    <a:pt x="609" y="1067"/>
                    <a:pt x="610" y="1070"/>
                  </a:cubicBezTo>
                  <a:cubicBezTo>
                    <a:pt x="618" y="1089"/>
                    <a:pt x="612" y="1107"/>
                    <a:pt x="607" y="1125"/>
                  </a:cubicBezTo>
                  <a:cubicBezTo>
                    <a:pt x="601" y="1143"/>
                    <a:pt x="588" y="1160"/>
                    <a:pt x="558" y="1157"/>
                  </a:cubicBezTo>
                  <a:cubicBezTo>
                    <a:pt x="530" y="1157"/>
                    <a:pt x="512" y="1141"/>
                    <a:pt x="508" y="1113"/>
                  </a:cubicBezTo>
                  <a:close/>
                  <a:moveTo>
                    <a:pt x="430" y="716"/>
                  </a:moveTo>
                  <a:cubicBezTo>
                    <a:pt x="450" y="703"/>
                    <a:pt x="459" y="683"/>
                    <a:pt x="464" y="661"/>
                  </a:cubicBezTo>
                  <a:cubicBezTo>
                    <a:pt x="468" y="648"/>
                    <a:pt x="467" y="635"/>
                    <a:pt x="466" y="621"/>
                  </a:cubicBezTo>
                  <a:cubicBezTo>
                    <a:pt x="463" y="592"/>
                    <a:pt x="453" y="567"/>
                    <a:pt x="427" y="550"/>
                  </a:cubicBezTo>
                  <a:cubicBezTo>
                    <a:pt x="401" y="534"/>
                    <a:pt x="372" y="532"/>
                    <a:pt x="345" y="541"/>
                  </a:cubicBezTo>
                  <a:cubicBezTo>
                    <a:pt x="310" y="552"/>
                    <a:pt x="291" y="580"/>
                    <a:pt x="287" y="617"/>
                  </a:cubicBezTo>
                  <a:cubicBezTo>
                    <a:pt x="286" y="629"/>
                    <a:pt x="286" y="641"/>
                    <a:pt x="287" y="654"/>
                  </a:cubicBezTo>
                  <a:cubicBezTo>
                    <a:pt x="289" y="671"/>
                    <a:pt x="295" y="686"/>
                    <a:pt x="306" y="700"/>
                  </a:cubicBezTo>
                  <a:cubicBezTo>
                    <a:pt x="324" y="722"/>
                    <a:pt x="348" y="733"/>
                    <a:pt x="378" y="731"/>
                  </a:cubicBezTo>
                  <a:cubicBezTo>
                    <a:pt x="396" y="733"/>
                    <a:pt x="414" y="727"/>
                    <a:pt x="430" y="716"/>
                  </a:cubicBezTo>
                  <a:close/>
                  <a:moveTo>
                    <a:pt x="331" y="592"/>
                  </a:moveTo>
                  <a:cubicBezTo>
                    <a:pt x="339" y="580"/>
                    <a:pt x="349" y="569"/>
                    <a:pt x="365" y="567"/>
                  </a:cubicBezTo>
                  <a:cubicBezTo>
                    <a:pt x="387" y="564"/>
                    <a:pt x="406" y="568"/>
                    <a:pt x="419" y="588"/>
                  </a:cubicBezTo>
                  <a:cubicBezTo>
                    <a:pt x="423" y="595"/>
                    <a:pt x="426" y="603"/>
                    <a:pt x="427" y="610"/>
                  </a:cubicBezTo>
                  <a:cubicBezTo>
                    <a:pt x="433" y="635"/>
                    <a:pt x="431" y="661"/>
                    <a:pt x="416" y="684"/>
                  </a:cubicBezTo>
                  <a:cubicBezTo>
                    <a:pt x="403" y="706"/>
                    <a:pt x="362" y="708"/>
                    <a:pt x="345" y="692"/>
                  </a:cubicBezTo>
                  <a:cubicBezTo>
                    <a:pt x="329" y="678"/>
                    <a:pt x="323" y="661"/>
                    <a:pt x="323" y="631"/>
                  </a:cubicBezTo>
                  <a:cubicBezTo>
                    <a:pt x="323" y="619"/>
                    <a:pt x="323" y="605"/>
                    <a:pt x="331" y="592"/>
                  </a:cubicBezTo>
                  <a:close/>
                  <a:moveTo>
                    <a:pt x="1073" y="259"/>
                  </a:moveTo>
                  <a:cubicBezTo>
                    <a:pt x="1073" y="269"/>
                    <a:pt x="1075" y="272"/>
                    <a:pt x="1086" y="272"/>
                  </a:cubicBezTo>
                  <a:cubicBezTo>
                    <a:pt x="1088" y="272"/>
                    <a:pt x="1090" y="272"/>
                    <a:pt x="1092" y="272"/>
                  </a:cubicBezTo>
                  <a:cubicBezTo>
                    <a:pt x="1105" y="272"/>
                    <a:pt x="1106" y="271"/>
                    <a:pt x="1106" y="258"/>
                  </a:cubicBezTo>
                  <a:cubicBezTo>
                    <a:pt x="1106" y="221"/>
                    <a:pt x="1106" y="184"/>
                    <a:pt x="1106" y="147"/>
                  </a:cubicBezTo>
                  <a:cubicBezTo>
                    <a:pt x="1106" y="143"/>
                    <a:pt x="1106" y="140"/>
                    <a:pt x="1107" y="137"/>
                  </a:cubicBezTo>
                  <a:cubicBezTo>
                    <a:pt x="1117" y="117"/>
                    <a:pt x="1157" y="104"/>
                    <a:pt x="1177" y="114"/>
                  </a:cubicBezTo>
                  <a:cubicBezTo>
                    <a:pt x="1179" y="115"/>
                    <a:pt x="1180" y="117"/>
                    <a:pt x="1182" y="118"/>
                  </a:cubicBezTo>
                  <a:cubicBezTo>
                    <a:pt x="1194" y="131"/>
                    <a:pt x="1196" y="147"/>
                    <a:pt x="1196" y="163"/>
                  </a:cubicBezTo>
                  <a:cubicBezTo>
                    <a:pt x="1197" y="195"/>
                    <a:pt x="1196" y="226"/>
                    <a:pt x="1196" y="258"/>
                  </a:cubicBezTo>
                  <a:cubicBezTo>
                    <a:pt x="1196" y="271"/>
                    <a:pt x="1197" y="272"/>
                    <a:pt x="1210" y="272"/>
                  </a:cubicBezTo>
                  <a:cubicBezTo>
                    <a:pt x="1212" y="272"/>
                    <a:pt x="1213" y="272"/>
                    <a:pt x="1215" y="272"/>
                  </a:cubicBezTo>
                  <a:cubicBezTo>
                    <a:pt x="1227" y="272"/>
                    <a:pt x="1229" y="270"/>
                    <a:pt x="1229" y="258"/>
                  </a:cubicBezTo>
                  <a:cubicBezTo>
                    <a:pt x="1229" y="222"/>
                    <a:pt x="1229" y="187"/>
                    <a:pt x="1229" y="151"/>
                  </a:cubicBezTo>
                  <a:cubicBezTo>
                    <a:pt x="1229" y="142"/>
                    <a:pt x="1228" y="132"/>
                    <a:pt x="1225" y="123"/>
                  </a:cubicBezTo>
                  <a:cubicBezTo>
                    <a:pt x="1219" y="105"/>
                    <a:pt x="1208" y="91"/>
                    <a:pt x="1189" y="85"/>
                  </a:cubicBezTo>
                  <a:cubicBezTo>
                    <a:pt x="1173" y="80"/>
                    <a:pt x="1156" y="84"/>
                    <a:pt x="1139" y="84"/>
                  </a:cubicBezTo>
                  <a:cubicBezTo>
                    <a:pt x="1137" y="84"/>
                    <a:pt x="1136" y="86"/>
                    <a:pt x="1134" y="87"/>
                  </a:cubicBezTo>
                  <a:cubicBezTo>
                    <a:pt x="1128" y="91"/>
                    <a:pt x="1121" y="96"/>
                    <a:pt x="1115" y="100"/>
                  </a:cubicBezTo>
                  <a:cubicBezTo>
                    <a:pt x="1113" y="102"/>
                    <a:pt x="1111" y="105"/>
                    <a:pt x="1108" y="103"/>
                  </a:cubicBezTo>
                  <a:cubicBezTo>
                    <a:pt x="1105" y="102"/>
                    <a:pt x="1106" y="98"/>
                    <a:pt x="1106" y="96"/>
                  </a:cubicBezTo>
                  <a:cubicBezTo>
                    <a:pt x="1106" y="69"/>
                    <a:pt x="1106" y="43"/>
                    <a:pt x="1106" y="17"/>
                  </a:cubicBezTo>
                  <a:cubicBezTo>
                    <a:pt x="1106" y="0"/>
                    <a:pt x="1106" y="0"/>
                    <a:pt x="1089" y="0"/>
                  </a:cubicBezTo>
                  <a:cubicBezTo>
                    <a:pt x="1074" y="0"/>
                    <a:pt x="1073" y="1"/>
                    <a:pt x="1073" y="16"/>
                  </a:cubicBezTo>
                  <a:cubicBezTo>
                    <a:pt x="1073" y="56"/>
                    <a:pt x="1073" y="96"/>
                    <a:pt x="1073" y="136"/>
                  </a:cubicBezTo>
                  <a:cubicBezTo>
                    <a:pt x="1073" y="177"/>
                    <a:pt x="1073" y="218"/>
                    <a:pt x="1073" y="259"/>
                  </a:cubicBezTo>
                  <a:close/>
                  <a:moveTo>
                    <a:pt x="1150" y="1092"/>
                  </a:moveTo>
                  <a:cubicBezTo>
                    <a:pt x="1168" y="1092"/>
                    <a:pt x="1186" y="1092"/>
                    <a:pt x="1204" y="1092"/>
                  </a:cubicBezTo>
                  <a:cubicBezTo>
                    <a:pt x="1215" y="1092"/>
                    <a:pt x="1218" y="1087"/>
                    <a:pt x="1219" y="1077"/>
                  </a:cubicBezTo>
                  <a:cubicBezTo>
                    <a:pt x="1220" y="1062"/>
                    <a:pt x="1216" y="1049"/>
                    <a:pt x="1210" y="1036"/>
                  </a:cubicBezTo>
                  <a:cubicBezTo>
                    <a:pt x="1204" y="1020"/>
                    <a:pt x="1193" y="1008"/>
                    <a:pt x="1177" y="1001"/>
                  </a:cubicBezTo>
                  <a:cubicBezTo>
                    <a:pt x="1155" y="992"/>
                    <a:pt x="1133" y="991"/>
                    <a:pt x="1109" y="999"/>
                  </a:cubicBezTo>
                  <a:cubicBezTo>
                    <a:pt x="1079" y="1010"/>
                    <a:pt x="1062" y="1031"/>
                    <a:pt x="1056" y="1061"/>
                  </a:cubicBezTo>
                  <a:cubicBezTo>
                    <a:pt x="1051" y="1090"/>
                    <a:pt x="1052" y="1120"/>
                    <a:pt x="1069" y="1148"/>
                  </a:cubicBezTo>
                  <a:cubicBezTo>
                    <a:pt x="1081" y="1169"/>
                    <a:pt x="1100" y="1180"/>
                    <a:pt x="1122" y="1185"/>
                  </a:cubicBezTo>
                  <a:cubicBezTo>
                    <a:pt x="1149" y="1190"/>
                    <a:pt x="1176" y="1186"/>
                    <a:pt x="1200" y="1171"/>
                  </a:cubicBezTo>
                  <a:cubicBezTo>
                    <a:pt x="1206" y="1168"/>
                    <a:pt x="1213" y="1165"/>
                    <a:pt x="1214" y="1157"/>
                  </a:cubicBezTo>
                  <a:cubicBezTo>
                    <a:pt x="1215" y="1147"/>
                    <a:pt x="1202" y="1139"/>
                    <a:pt x="1193" y="1144"/>
                  </a:cubicBezTo>
                  <a:cubicBezTo>
                    <a:pt x="1187" y="1147"/>
                    <a:pt x="1180" y="1150"/>
                    <a:pt x="1174" y="1153"/>
                  </a:cubicBezTo>
                  <a:cubicBezTo>
                    <a:pt x="1158" y="1161"/>
                    <a:pt x="1140" y="1161"/>
                    <a:pt x="1124" y="1155"/>
                  </a:cubicBezTo>
                  <a:cubicBezTo>
                    <a:pt x="1112" y="1151"/>
                    <a:pt x="1102" y="1142"/>
                    <a:pt x="1096" y="1129"/>
                  </a:cubicBezTo>
                  <a:cubicBezTo>
                    <a:pt x="1092" y="1121"/>
                    <a:pt x="1091" y="1112"/>
                    <a:pt x="1089" y="1104"/>
                  </a:cubicBezTo>
                  <a:cubicBezTo>
                    <a:pt x="1087" y="1093"/>
                    <a:pt x="1087" y="1092"/>
                    <a:pt x="1099" y="1092"/>
                  </a:cubicBezTo>
                  <a:cubicBezTo>
                    <a:pt x="1116" y="1092"/>
                    <a:pt x="1133" y="1092"/>
                    <a:pt x="1150" y="1092"/>
                  </a:cubicBezTo>
                  <a:cubicBezTo>
                    <a:pt x="1150" y="1092"/>
                    <a:pt x="1150" y="1092"/>
                    <a:pt x="1150" y="1092"/>
                  </a:cubicBezTo>
                  <a:close/>
                  <a:moveTo>
                    <a:pt x="1099" y="1070"/>
                  </a:moveTo>
                  <a:cubicBezTo>
                    <a:pt x="1092" y="1071"/>
                    <a:pt x="1089" y="1067"/>
                    <a:pt x="1091" y="1060"/>
                  </a:cubicBezTo>
                  <a:cubicBezTo>
                    <a:pt x="1094" y="1045"/>
                    <a:pt x="1108" y="1023"/>
                    <a:pt x="1128" y="1022"/>
                  </a:cubicBezTo>
                  <a:cubicBezTo>
                    <a:pt x="1142" y="1021"/>
                    <a:pt x="1156" y="1018"/>
                    <a:pt x="1168" y="1029"/>
                  </a:cubicBezTo>
                  <a:cubicBezTo>
                    <a:pt x="1181" y="1038"/>
                    <a:pt x="1185" y="1051"/>
                    <a:pt x="1187" y="1066"/>
                  </a:cubicBezTo>
                  <a:cubicBezTo>
                    <a:pt x="1188" y="1071"/>
                    <a:pt x="1183" y="1070"/>
                    <a:pt x="1180" y="1070"/>
                  </a:cubicBezTo>
                  <a:cubicBezTo>
                    <a:pt x="1166" y="1070"/>
                    <a:pt x="1153" y="1070"/>
                    <a:pt x="1139" y="1070"/>
                  </a:cubicBezTo>
                  <a:cubicBezTo>
                    <a:pt x="1139" y="1070"/>
                    <a:pt x="1139" y="1070"/>
                    <a:pt x="1139" y="1070"/>
                  </a:cubicBezTo>
                  <a:cubicBezTo>
                    <a:pt x="1126" y="1070"/>
                    <a:pt x="1113" y="1070"/>
                    <a:pt x="1099" y="1070"/>
                  </a:cubicBezTo>
                  <a:close/>
                  <a:moveTo>
                    <a:pt x="1741" y="1092"/>
                  </a:moveTo>
                  <a:cubicBezTo>
                    <a:pt x="1759" y="1092"/>
                    <a:pt x="1776" y="1092"/>
                    <a:pt x="1793" y="1092"/>
                  </a:cubicBezTo>
                  <a:cubicBezTo>
                    <a:pt x="1806" y="1092"/>
                    <a:pt x="1808" y="1089"/>
                    <a:pt x="1808" y="1076"/>
                  </a:cubicBezTo>
                  <a:cubicBezTo>
                    <a:pt x="1809" y="1063"/>
                    <a:pt x="1807" y="1051"/>
                    <a:pt x="1802" y="1038"/>
                  </a:cubicBezTo>
                  <a:cubicBezTo>
                    <a:pt x="1794" y="1021"/>
                    <a:pt x="1782" y="1008"/>
                    <a:pt x="1764" y="1000"/>
                  </a:cubicBezTo>
                  <a:cubicBezTo>
                    <a:pt x="1742" y="991"/>
                    <a:pt x="1720" y="991"/>
                    <a:pt x="1698" y="1000"/>
                  </a:cubicBezTo>
                  <a:cubicBezTo>
                    <a:pt x="1681" y="1006"/>
                    <a:pt x="1668" y="1016"/>
                    <a:pt x="1659" y="1031"/>
                  </a:cubicBezTo>
                  <a:cubicBezTo>
                    <a:pt x="1646" y="1050"/>
                    <a:pt x="1643" y="1071"/>
                    <a:pt x="1644" y="1094"/>
                  </a:cubicBezTo>
                  <a:cubicBezTo>
                    <a:pt x="1644" y="1110"/>
                    <a:pt x="1647" y="1127"/>
                    <a:pt x="1655" y="1141"/>
                  </a:cubicBezTo>
                  <a:cubicBezTo>
                    <a:pt x="1669" y="1168"/>
                    <a:pt x="1691" y="1183"/>
                    <a:pt x="1722" y="1186"/>
                  </a:cubicBezTo>
                  <a:cubicBezTo>
                    <a:pt x="1750" y="1188"/>
                    <a:pt x="1775" y="1183"/>
                    <a:pt x="1798" y="1165"/>
                  </a:cubicBezTo>
                  <a:cubicBezTo>
                    <a:pt x="1803" y="1161"/>
                    <a:pt x="1806" y="1157"/>
                    <a:pt x="1802" y="1151"/>
                  </a:cubicBezTo>
                  <a:cubicBezTo>
                    <a:pt x="1798" y="1144"/>
                    <a:pt x="1791" y="1140"/>
                    <a:pt x="1783" y="1144"/>
                  </a:cubicBezTo>
                  <a:cubicBezTo>
                    <a:pt x="1778" y="1147"/>
                    <a:pt x="1771" y="1149"/>
                    <a:pt x="1766" y="1152"/>
                  </a:cubicBezTo>
                  <a:cubicBezTo>
                    <a:pt x="1749" y="1161"/>
                    <a:pt x="1730" y="1162"/>
                    <a:pt x="1714" y="1155"/>
                  </a:cubicBezTo>
                  <a:cubicBezTo>
                    <a:pt x="1692" y="1145"/>
                    <a:pt x="1680" y="1127"/>
                    <a:pt x="1679" y="1102"/>
                  </a:cubicBezTo>
                  <a:cubicBezTo>
                    <a:pt x="1678" y="1095"/>
                    <a:pt x="1681" y="1092"/>
                    <a:pt x="1689" y="1092"/>
                  </a:cubicBezTo>
                  <a:cubicBezTo>
                    <a:pt x="1706" y="1092"/>
                    <a:pt x="1724" y="1092"/>
                    <a:pt x="1741" y="1092"/>
                  </a:cubicBezTo>
                  <a:cubicBezTo>
                    <a:pt x="1741" y="1092"/>
                    <a:pt x="1741" y="1092"/>
                    <a:pt x="1741" y="1092"/>
                  </a:cubicBezTo>
                  <a:close/>
                  <a:moveTo>
                    <a:pt x="1690" y="1070"/>
                  </a:moveTo>
                  <a:cubicBezTo>
                    <a:pt x="1683" y="1071"/>
                    <a:pt x="1680" y="1068"/>
                    <a:pt x="1681" y="1062"/>
                  </a:cubicBezTo>
                  <a:cubicBezTo>
                    <a:pt x="1683" y="1048"/>
                    <a:pt x="1697" y="1024"/>
                    <a:pt x="1716" y="1022"/>
                  </a:cubicBezTo>
                  <a:cubicBezTo>
                    <a:pt x="1731" y="1020"/>
                    <a:pt x="1747" y="1018"/>
                    <a:pt x="1760" y="1030"/>
                  </a:cubicBezTo>
                  <a:cubicBezTo>
                    <a:pt x="1771" y="1038"/>
                    <a:pt x="1775" y="1050"/>
                    <a:pt x="1778" y="1062"/>
                  </a:cubicBezTo>
                  <a:cubicBezTo>
                    <a:pt x="1780" y="1068"/>
                    <a:pt x="1775" y="1070"/>
                    <a:pt x="1769" y="1070"/>
                  </a:cubicBezTo>
                  <a:cubicBezTo>
                    <a:pt x="1756" y="1070"/>
                    <a:pt x="1742" y="1070"/>
                    <a:pt x="1729" y="1070"/>
                  </a:cubicBezTo>
                  <a:cubicBezTo>
                    <a:pt x="1729" y="1070"/>
                    <a:pt x="1729" y="1070"/>
                    <a:pt x="1729" y="1070"/>
                  </a:cubicBezTo>
                  <a:cubicBezTo>
                    <a:pt x="1716" y="1070"/>
                    <a:pt x="1703" y="1070"/>
                    <a:pt x="1690" y="1070"/>
                  </a:cubicBezTo>
                  <a:close/>
                  <a:moveTo>
                    <a:pt x="68" y="581"/>
                  </a:moveTo>
                  <a:cubicBezTo>
                    <a:pt x="68" y="573"/>
                    <a:pt x="70" y="568"/>
                    <a:pt x="80" y="569"/>
                  </a:cubicBezTo>
                  <a:cubicBezTo>
                    <a:pt x="90" y="570"/>
                    <a:pt x="101" y="570"/>
                    <a:pt x="111" y="569"/>
                  </a:cubicBezTo>
                  <a:cubicBezTo>
                    <a:pt x="120" y="569"/>
                    <a:pt x="120" y="563"/>
                    <a:pt x="120" y="556"/>
                  </a:cubicBezTo>
                  <a:cubicBezTo>
                    <a:pt x="120" y="549"/>
                    <a:pt x="119" y="544"/>
                    <a:pt x="111" y="544"/>
                  </a:cubicBezTo>
                  <a:cubicBezTo>
                    <a:pt x="104" y="544"/>
                    <a:pt x="97" y="544"/>
                    <a:pt x="91" y="544"/>
                  </a:cubicBezTo>
                  <a:cubicBezTo>
                    <a:pt x="66" y="544"/>
                    <a:pt x="65" y="543"/>
                    <a:pt x="68" y="518"/>
                  </a:cubicBezTo>
                  <a:cubicBezTo>
                    <a:pt x="69" y="504"/>
                    <a:pt x="83" y="487"/>
                    <a:pt x="99" y="489"/>
                  </a:cubicBezTo>
                  <a:cubicBezTo>
                    <a:pt x="103" y="489"/>
                    <a:pt x="107" y="489"/>
                    <a:pt x="110" y="488"/>
                  </a:cubicBezTo>
                  <a:cubicBezTo>
                    <a:pt x="118" y="487"/>
                    <a:pt x="123" y="479"/>
                    <a:pt x="123" y="471"/>
                  </a:cubicBezTo>
                  <a:cubicBezTo>
                    <a:pt x="123" y="461"/>
                    <a:pt x="116" y="462"/>
                    <a:pt x="109" y="460"/>
                  </a:cubicBezTo>
                  <a:cubicBezTo>
                    <a:pt x="100" y="458"/>
                    <a:pt x="92" y="460"/>
                    <a:pt x="84" y="460"/>
                  </a:cubicBezTo>
                  <a:cubicBezTo>
                    <a:pt x="68" y="461"/>
                    <a:pt x="56" y="469"/>
                    <a:pt x="47" y="480"/>
                  </a:cubicBezTo>
                  <a:cubicBezTo>
                    <a:pt x="34" y="493"/>
                    <a:pt x="32" y="511"/>
                    <a:pt x="32" y="529"/>
                  </a:cubicBezTo>
                  <a:cubicBezTo>
                    <a:pt x="32" y="544"/>
                    <a:pt x="32" y="544"/>
                    <a:pt x="17" y="544"/>
                  </a:cubicBezTo>
                  <a:cubicBezTo>
                    <a:pt x="4" y="543"/>
                    <a:pt x="0" y="548"/>
                    <a:pt x="4" y="561"/>
                  </a:cubicBezTo>
                  <a:cubicBezTo>
                    <a:pt x="6" y="569"/>
                    <a:pt x="13" y="568"/>
                    <a:pt x="19" y="569"/>
                  </a:cubicBezTo>
                  <a:cubicBezTo>
                    <a:pt x="32" y="571"/>
                    <a:pt x="32" y="571"/>
                    <a:pt x="32" y="584"/>
                  </a:cubicBezTo>
                  <a:cubicBezTo>
                    <a:pt x="32" y="624"/>
                    <a:pt x="32" y="664"/>
                    <a:pt x="32" y="704"/>
                  </a:cubicBezTo>
                  <a:cubicBezTo>
                    <a:pt x="32" y="731"/>
                    <a:pt x="32" y="730"/>
                    <a:pt x="57" y="731"/>
                  </a:cubicBezTo>
                  <a:cubicBezTo>
                    <a:pt x="66" y="731"/>
                    <a:pt x="68" y="727"/>
                    <a:pt x="68" y="720"/>
                  </a:cubicBezTo>
                  <a:cubicBezTo>
                    <a:pt x="68" y="697"/>
                    <a:pt x="68" y="674"/>
                    <a:pt x="68" y="651"/>
                  </a:cubicBezTo>
                  <a:cubicBezTo>
                    <a:pt x="68" y="628"/>
                    <a:pt x="68" y="605"/>
                    <a:pt x="68" y="581"/>
                  </a:cubicBezTo>
                  <a:close/>
                  <a:moveTo>
                    <a:pt x="278" y="1165"/>
                  </a:moveTo>
                  <a:cubicBezTo>
                    <a:pt x="278" y="1183"/>
                    <a:pt x="278" y="1183"/>
                    <a:pt x="296" y="1184"/>
                  </a:cubicBezTo>
                  <a:cubicBezTo>
                    <a:pt x="310" y="1184"/>
                    <a:pt x="310" y="1184"/>
                    <a:pt x="310" y="1169"/>
                  </a:cubicBezTo>
                  <a:cubicBezTo>
                    <a:pt x="310" y="1132"/>
                    <a:pt x="310" y="1095"/>
                    <a:pt x="310" y="1058"/>
                  </a:cubicBezTo>
                  <a:cubicBezTo>
                    <a:pt x="310" y="1052"/>
                    <a:pt x="312" y="1047"/>
                    <a:pt x="316" y="1042"/>
                  </a:cubicBezTo>
                  <a:cubicBezTo>
                    <a:pt x="324" y="1033"/>
                    <a:pt x="334" y="1027"/>
                    <a:pt x="345" y="1024"/>
                  </a:cubicBezTo>
                  <a:cubicBezTo>
                    <a:pt x="357" y="1020"/>
                    <a:pt x="371" y="1018"/>
                    <a:pt x="383" y="1028"/>
                  </a:cubicBezTo>
                  <a:cubicBezTo>
                    <a:pt x="397" y="1039"/>
                    <a:pt x="401" y="1054"/>
                    <a:pt x="401" y="1071"/>
                  </a:cubicBezTo>
                  <a:cubicBezTo>
                    <a:pt x="401" y="1102"/>
                    <a:pt x="401" y="1132"/>
                    <a:pt x="401" y="1163"/>
                  </a:cubicBezTo>
                  <a:cubicBezTo>
                    <a:pt x="401" y="1183"/>
                    <a:pt x="401" y="1182"/>
                    <a:pt x="420" y="1184"/>
                  </a:cubicBezTo>
                  <a:cubicBezTo>
                    <a:pt x="429" y="1185"/>
                    <a:pt x="433" y="1181"/>
                    <a:pt x="433" y="1173"/>
                  </a:cubicBezTo>
                  <a:cubicBezTo>
                    <a:pt x="432" y="1130"/>
                    <a:pt x="435" y="1087"/>
                    <a:pt x="431" y="1044"/>
                  </a:cubicBezTo>
                  <a:cubicBezTo>
                    <a:pt x="427" y="1014"/>
                    <a:pt x="404" y="996"/>
                    <a:pt x="376" y="994"/>
                  </a:cubicBezTo>
                  <a:cubicBezTo>
                    <a:pt x="353" y="992"/>
                    <a:pt x="333" y="1000"/>
                    <a:pt x="317" y="1017"/>
                  </a:cubicBezTo>
                  <a:cubicBezTo>
                    <a:pt x="312" y="1021"/>
                    <a:pt x="311" y="1019"/>
                    <a:pt x="309" y="1015"/>
                  </a:cubicBezTo>
                  <a:cubicBezTo>
                    <a:pt x="309" y="1013"/>
                    <a:pt x="308" y="1011"/>
                    <a:pt x="308" y="1008"/>
                  </a:cubicBezTo>
                  <a:cubicBezTo>
                    <a:pt x="306" y="1001"/>
                    <a:pt x="298" y="997"/>
                    <a:pt x="287" y="998"/>
                  </a:cubicBezTo>
                  <a:cubicBezTo>
                    <a:pt x="279" y="999"/>
                    <a:pt x="278" y="1004"/>
                    <a:pt x="278" y="1011"/>
                  </a:cubicBezTo>
                  <a:cubicBezTo>
                    <a:pt x="278" y="1037"/>
                    <a:pt x="278" y="1064"/>
                    <a:pt x="278" y="1091"/>
                  </a:cubicBezTo>
                  <a:cubicBezTo>
                    <a:pt x="278" y="1115"/>
                    <a:pt x="278" y="1140"/>
                    <a:pt x="278" y="1165"/>
                  </a:cubicBezTo>
                  <a:close/>
                  <a:moveTo>
                    <a:pt x="150" y="705"/>
                  </a:moveTo>
                  <a:cubicBezTo>
                    <a:pt x="150" y="734"/>
                    <a:pt x="145" y="730"/>
                    <a:pt x="176" y="731"/>
                  </a:cubicBezTo>
                  <a:cubicBezTo>
                    <a:pt x="185" y="731"/>
                    <a:pt x="187" y="727"/>
                    <a:pt x="187" y="719"/>
                  </a:cubicBezTo>
                  <a:cubicBezTo>
                    <a:pt x="187" y="685"/>
                    <a:pt x="187" y="651"/>
                    <a:pt x="187" y="618"/>
                  </a:cubicBezTo>
                  <a:cubicBezTo>
                    <a:pt x="187" y="597"/>
                    <a:pt x="204" y="578"/>
                    <a:pt x="225" y="574"/>
                  </a:cubicBezTo>
                  <a:cubicBezTo>
                    <a:pt x="232" y="572"/>
                    <a:pt x="240" y="574"/>
                    <a:pt x="247" y="575"/>
                  </a:cubicBezTo>
                  <a:cubicBezTo>
                    <a:pt x="257" y="576"/>
                    <a:pt x="261" y="572"/>
                    <a:pt x="265" y="564"/>
                  </a:cubicBezTo>
                  <a:cubicBezTo>
                    <a:pt x="269" y="556"/>
                    <a:pt x="267" y="542"/>
                    <a:pt x="261" y="540"/>
                  </a:cubicBezTo>
                  <a:cubicBezTo>
                    <a:pt x="253" y="538"/>
                    <a:pt x="244" y="534"/>
                    <a:pt x="237" y="536"/>
                  </a:cubicBezTo>
                  <a:cubicBezTo>
                    <a:pt x="228" y="537"/>
                    <a:pt x="217" y="537"/>
                    <a:pt x="209" y="544"/>
                  </a:cubicBezTo>
                  <a:cubicBezTo>
                    <a:pt x="204" y="549"/>
                    <a:pt x="198" y="553"/>
                    <a:pt x="194" y="558"/>
                  </a:cubicBezTo>
                  <a:cubicBezTo>
                    <a:pt x="192" y="561"/>
                    <a:pt x="189" y="563"/>
                    <a:pt x="185" y="562"/>
                  </a:cubicBezTo>
                  <a:cubicBezTo>
                    <a:pt x="182" y="561"/>
                    <a:pt x="182" y="558"/>
                    <a:pt x="182" y="556"/>
                  </a:cubicBezTo>
                  <a:cubicBezTo>
                    <a:pt x="180" y="539"/>
                    <a:pt x="179" y="539"/>
                    <a:pt x="162" y="539"/>
                  </a:cubicBezTo>
                  <a:cubicBezTo>
                    <a:pt x="151" y="539"/>
                    <a:pt x="150" y="540"/>
                    <a:pt x="150" y="551"/>
                  </a:cubicBezTo>
                  <a:cubicBezTo>
                    <a:pt x="150" y="579"/>
                    <a:pt x="150" y="607"/>
                    <a:pt x="150" y="635"/>
                  </a:cubicBezTo>
                  <a:cubicBezTo>
                    <a:pt x="150" y="658"/>
                    <a:pt x="149" y="682"/>
                    <a:pt x="150" y="705"/>
                  </a:cubicBezTo>
                  <a:close/>
                  <a:moveTo>
                    <a:pt x="1011" y="1049"/>
                  </a:moveTo>
                  <a:cubicBezTo>
                    <a:pt x="1011" y="1008"/>
                    <a:pt x="1011" y="966"/>
                    <a:pt x="1011" y="924"/>
                  </a:cubicBezTo>
                  <a:cubicBezTo>
                    <a:pt x="1011" y="913"/>
                    <a:pt x="1008" y="910"/>
                    <a:pt x="997" y="910"/>
                  </a:cubicBezTo>
                  <a:cubicBezTo>
                    <a:pt x="995" y="910"/>
                    <a:pt x="992" y="910"/>
                    <a:pt x="990" y="910"/>
                  </a:cubicBezTo>
                  <a:cubicBezTo>
                    <a:pt x="976" y="910"/>
                    <a:pt x="975" y="911"/>
                    <a:pt x="975" y="926"/>
                  </a:cubicBezTo>
                  <a:cubicBezTo>
                    <a:pt x="975" y="1006"/>
                    <a:pt x="975" y="1085"/>
                    <a:pt x="975" y="1165"/>
                  </a:cubicBezTo>
                  <a:cubicBezTo>
                    <a:pt x="975" y="1185"/>
                    <a:pt x="975" y="1185"/>
                    <a:pt x="994" y="1185"/>
                  </a:cubicBezTo>
                  <a:cubicBezTo>
                    <a:pt x="1009" y="1185"/>
                    <a:pt x="1011" y="1184"/>
                    <a:pt x="1011" y="1169"/>
                  </a:cubicBezTo>
                  <a:cubicBezTo>
                    <a:pt x="1011" y="1129"/>
                    <a:pt x="1011" y="1089"/>
                    <a:pt x="1011" y="1049"/>
                  </a:cubicBezTo>
                  <a:cubicBezTo>
                    <a:pt x="1011" y="1049"/>
                    <a:pt x="1011" y="1049"/>
                    <a:pt x="1011" y="1049"/>
                  </a:cubicBezTo>
                  <a:close/>
                  <a:moveTo>
                    <a:pt x="296" y="176"/>
                  </a:moveTo>
                  <a:cubicBezTo>
                    <a:pt x="296" y="201"/>
                    <a:pt x="296" y="226"/>
                    <a:pt x="296" y="251"/>
                  </a:cubicBezTo>
                  <a:cubicBezTo>
                    <a:pt x="295" y="276"/>
                    <a:pt x="296" y="274"/>
                    <a:pt x="318" y="274"/>
                  </a:cubicBezTo>
                  <a:cubicBezTo>
                    <a:pt x="330" y="274"/>
                    <a:pt x="331" y="274"/>
                    <a:pt x="331" y="260"/>
                  </a:cubicBezTo>
                  <a:cubicBezTo>
                    <a:pt x="331" y="232"/>
                    <a:pt x="331" y="204"/>
                    <a:pt x="331" y="176"/>
                  </a:cubicBezTo>
                  <a:cubicBezTo>
                    <a:pt x="331" y="165"/>
                    <a:pt x="331" y="155"/>
                    <a:pt x="337" y="145"/>
                  </a:cubicBezTo>
                  <a:cubicBezTo>
                    <a:pt x="349" y="123"/>
                    <a:pt x="359" y="117"/>
                    <a:pt x="377" y="118"/>
                  </a:cubicBezTo>
                  <a:cubicBezTo>
                    <a:pt x="383" y="118"/>
                    <a:pt x="389" y="119"/>
                    <a:pt x="395" y="120"/>
                  </a:cubicBezTo>
                  <a:cubicBezTo>
                    <a:pt x="401" y="120"/>
                    <a:pt x="407" y="118"/>
                    <a:pt x="408" y="112"/>
                  </a:cubicBezTo>
                  <a:cubicBezTo>
                    <a:pt x="409" y="103"/>
                    <a:pt x="415" y="93"/>
                    <a:pt x="407" y="85"/>
                  </a:cubicBezTo>
                  <a:cubicBezTo>
                    <a:pt x="406" y="84"/>
                    <a:pt x="404" y="84"/>
                    <a:pt x="402" y="84"/>
                  </a:cubicBezTo>
                  <a:cubicBezTo>
                    <a:pt x="376" y="78"/>
                    <a:pt x="353" y="82"/>
                    <a:pt x="337" y="106"/>
                  </a:cubicBezTo>
                  <a:cubicBezTo>
                    <a:pt x="336" y="108"/>
                    <a:pt x="335" y="110"/>
                    <a:pt x="333" y="109"/>
                  </a:cubicBezTo>
                  <a:cubicBezTo>
                    <a:pt x="331" y="109"/>
                    <a:pt x="330" y="107"/>
                    <a:pt x="330" y="105"/>
                  </a:cubicBezTo>
                  <a:cubicBezTo>
                    <a:pt x="329" y="101"/>
                    <a:pt x="329" y="97"/>
                    <a:pt x="328" y="94"/>
                  </a:cubicBezTo>
                  <a:cubicBezTo>
                    <a:pt x="325" y="85"/>
                    <a:pt x="318" y="82"/>
                    <a:pt x="303" y="84"/>
                  </a:cubicBezTo>
                  <a:cubicBezTo>
                    <a:pt x="297" y="84"/>
                    <a:pt x="295" y="86"/>
                    <a:pt x="295" y="92"/>
                  </a:cubicBezTo>
                  <a:cubicBezTo>
                    <a:pt x="296" y="120"/>
                    <a:pt x="295" y="148"/>
                    <a:pt x="295" y="176"/>
                  </a:cubicBezTo>
                  <a:cubicBezTo>
                    <a:pt x="296" y="176"/>
                    <a:pt x="296" y="176"/>
                    <a:pt x="296" y="176"/>
                  </a:cubicBezTo>
                  <a:close/>
                  <a:moveTo>
                    <a:pt x="946" y="179"/>
                  </a:moveTo>
                  <a:cubicBezTo>
                    <a:pt x="946" y="197"/>
                    <a:pt x="946" y="215"/>
                    <a:pt x="946" y="234"/>
                  </a:cubicBezTo>
                  <a:cubicBezTo>
                    <a:pt x="946" y="248"/>
                    <a:pt x="951" y="260"/>
                    <a:pt x="963" y="268"/>
                  </a:cubicBezTo>
                  <a:cubicBezTo>
                    <a:pt x="982" y="280"/>
                    <a:pt x="1011" y="277"/>
                    <a:pt x="1029" y="264"/>
                  </a:cubicBezTo>
                  <a:cubicBezTo>
                    <a:pt x="1036" y="259"/>
                    <a:pt x="1036" y="254"/>
                    <a:pt x="1032" y="248"/>
                  </a:cubicBezTo>
                  <a:cubicBezTo>
                    <a:pt x="1026" y="239"/>
                    <a:pt x="1020" y="238"/>
                    <a:pt x="1013" y="242"/>
                  </a:cubicBezTo>
                  <a:cubicBezTo>
                    <a:pt x="996" y="252"/>
                    <a:pt x="978" y="243"/>
                    <a:pt x="978" y="223"/>
                  </a:cubicBezTo>
                  <a:cubicBezTo>
                    <a:pt x="978" y="190"/>
                    <a:pt x="978" y="157"/>
                    <a:pt x="978" y="123"/>
                  </a:cubicBezTo>
                  <a:cubicBezTo>
                    <a:pt x="978" y="116"/>
                    <a:pt x="981" y="113"/>
                    <a:pt x="988" y="113"/>
                  </a:cubicBezTo>
                  <a:cubicBezTo>
                    <a:pt x="999" y="114"/>
                    <a:pt x="1011" y="113"/>
                    <a:pt x="1022" y="113"/>
                  </a:cubicBezTo>
                  <a:cubicBezTo>
                    <a:pt x="1028" y="113"/>
                    <a:pt x="1033" y="112"/>
                    <a:pt x="1033" y="104"/>
                  </a:cubicBezTo>
                  <a:cubicBezTo>
                    <a:pt x="1033" y="96"/>
                    <a:pt x="1032" y="90"/>
                    <a:pt x="1022" y="90"/>
                  </a:cubicBezTo>
                  <a:cubicBezTo>
                    <a:pt x="1011" y="90"/>
                    <a:pt x="1001" y="90"/>
                    <a:pt x="990" y="90"/>
                  </a:cubicBezTo>
                  <a:cubicBezTo>
                    <a:pt x="981" y="91"/>
                    <a:pt x="977" y="88"/>
                    <a:pt x="978" y="78"/>
                  </a:cubicBezTo>
                  <a:cubicBezTo>
                    <a:pt x="978" y="64"/>
                    <a:pt x="978" y="49"/>
                    <a:pt x="978" y="35"/>
                  </a:cubicBezTo>
                  <a:cubicBezTo>
                    <a:pt x="978" y="30"/>
                    <a:pt x="978" y="25"/>
                    <a:pt x="971" y="24"/>
                  </a:cubicBezTo>
                  <a:cubicBezTo>
                    <a:pt x="964" y="24"/>
                    <a:pt x="956" y="24"/>
                    <a:pt x="955" y="32"/>
                  </a:cubicBezTo>
                  <a:cubicBezTo>
                    <a:pt x="952" y="43"/>
                    <a:pt x="949" y="54"/>
                    <a:pt x="949" y="65"/>
                  </a:cubicBezTo>
                  <a:cubicBezTo>
                    <a:pt x="948" y="88"/>
                    <a:pt x="947" y="88"/>
                    <a:pt x="924" y="91"/>
                  </a:cubicBezTo>
                  <a:cubicBezTo>
                    <a:pt x="919" y="92"/>
                    <a:pt x="914" y="92"/>
                    <a:pt x="914" y="99"/>
                  </a:cubicBezTo>
                  <a:cubicBezTo>
                    <a:pt x="915" y="107"/>
                    <a:pt x="917" y="113"/>
                    <a:pt x="926" y="113"/>
                  </a:cubicBezTo>
                  <a:cubicBezTo>
                    <a:pt x="929" y="114"/>
                    <a:pt x="932" y="113"/>
                    <a:pt x="935" y="113"/>
                  </a:cubicBezTo>
                  <a:cubicBezTo>
                    <a:pt x="943" y="113"/>
                    <a:pt x="946" y="116"/>
                    <a:pt x="946" y="124"/>
                  </a:cubicBezTo>
                  <a:cubicBezTo>
                    <a:pt x="946" y="142"/>
                    <a:pt x="946" y="161"/>
                    <a:pt x="946" y="179"/>
                  </a:cubicBezTo>
                  <a:cubicBezTo>
                    <a:pt x="946" y="179"/>
                    <a:pt x="946" y="179"/>
                    <a:pt x="946" y="179"/>
                  </a:cubicBezTo>
                  <a:close/>
                </a:path>
              </a:pathLst>
            </a:custGeom>
            <a:solidFill>
              <a:srgbClr val="4C50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  <p:grpSp>
          <p:nvGrpSpPr>
            <p:cNvPr id="18" name="Group 4">
              <a:extLst>
                <a:ext uri="{FF2B5EF4-FFF2-40B4-BE49-F238E27FC236}">
                  <a16:creationId xmlns:a16="http://schemas.microsoft.com/office/drawing/2014/main" id="{57BD2C4C-DC67-B843-B26C-309622FC75F7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34963" y="296652"/>
              <a:ext cx="538094" cy="540000"/>
              <a:chOff x="2711" y="1027"/>
              <a:chExt cx="2258" cy="2266"/>
            </a:xfrm>
          </p:grpSpPr>
          <p:sp>
            <p:nvSpPr>
              <p:cNvPr id="19" name="AutoShape 3">
                <a:extLst>
                  <a:ext uri="{FF2B5EF4-FFF2-40B4-BE49-F238E27FC236}">
                    <a16:creationId xmlns:a16="http://schemas.microsoft.com/office/drawing/2014/main" id="{FE1DC41B-291E-574C-9F2C-874E70A4075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gray">
              <a:xfrm>
                <a:off x="2711" y="1027"/>
                <a:ext cx="2258" cy="22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0" name="Freeform 5">
                <a:extLst>
                  <a:ext uri="{FF2B5EF4-FFF2-40B4-BE49-F238E27FC236}">
                    <a16:creationId xmlns:a16="http://schemas.microsoft.com/office/drawing/2014/main" id="{D4B633C8-F761-C54B-9BD2-EB59D49A2D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09" y="1029"/>
                <a:ext cx="2260" cy="2262"/>
              </a:xfrm>
              <a:custGeom>
                <a:avLst/>
                <a:gdLst>
                  <a:gd name="T0" fmla="*/ 2260 w 2260"/>
                  <a:gd name="T1" fmla="*/ 0 h 2262"/>
                  <a:gd name="T2" fmla="*/ 1612 w 2260"/>
                  <a:gd name="T3" fmla="*/ 649 h 2262"/>
                  <a:gd name="T4" fmla="*/ 1612 w 2260"/>
                  <a:gd name="T5" fmla="*/ 649 h 2262"/>
                  <a:gd name="T6" fmla="*/ 2035 w 2260"/>
                  <a:gd name="T7" fmla="*/ 0 h 2262"/>
                  <a:gd name="T8" fmla="*/ 0 w 2260"/>
                  <a:gd name="T9" fmla="*/ 0 h 2262"/>
                  <a:gd name="T10" fmla="*/ 0 w 2260"/>
                  <a:gd name="T11" fmla="*/ 2262 h 2262"/>
                  <a:gd name="T12" fmla="*/ 2260 w 2260"/>
                  <a:gd name="T13" fmla="*/ 2262 h 2262"/>
                  <a:gd name="T14" fmla="*/ 2260 w 2260"/>
                  <a:gd name="T15" fmla="*/ 0 h 2262"/>
                  <a:gd name="T16" fmla="*/ 2260 w 2260"/>
                  <a:gd name="T17" fmla="*/ 0 h 2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60" h="2262">
                    <a:moveTo>
                      <a:pt x="2260" y="0"/>
                    </a:moveTo>
                    <a:lnTo>
                      <a:pt x="1612" y="649"/>
                    </a:lnTo>
                    <a:lnTo>
                      <a:pt x="1612" y="649"/>
                    </a:lnTo>
                    <a:lnTo>
                      <a:pt x="2035" y="0"/>
                    </a:lnTo>
                    <a:lnTo>
                      <a:pt x="0" y="0"/>
                    </a:lnTo>
                    <a:lnTo>
                      <a:pt x="0" y="2262"/>
                    </a:lnTo>
                    <a:lnTo>
                      <a:pt x="2260" y="2262"/>
                    </a:lnTo>
                    <a:lnTo>
                      <a:pt x="2260" y="0"/>
                    </a:lnTo>
                    <a:lnTo>
                      <a:pt x="2260" y="0"/>
                    </a:lnTo>
                    <a:close/>
                  </a:path>
                </a:pathLst>
              </a:custGeom>
              <a:solidFill>
                <a:srgbClr val="E55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1" name="Freeform 6">
                <a:extLst>
                  <a:ext uri="{FF2B5EF4-FFF2-40B4-BE49-F238E27FC236}">
                    <a16:creationId xmlns:a16="http://schemas.microsoft.com/office/drawing/2014/main" id="{B16BAAE4-1A41-C843-9754-490F7A1E127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623" y="1696"/>
                <a:ext cx="1167" cy="922"/>
              </a:xfrm>
              <a:custGeom>
                <a:avLst/>
                <a:gdLst>
                  <a:gd name="T0" fmla="*/ 411 w 580"/>
                  <a:gd name="T1" fmla="*/ 213 h 458"/>
                  <a:gd name="T2" fmla="*/ 570 w 580"/>
                  <a:gd name="T3" fmla="*/ 37 h 458"/>
                  <a:gd name="T4" fmla="*/ 580 w 580"/>
                  <a:gd name="T5" fmla="*/ 20 h 458"/>
                  <a:gd name="T6" fmla="*/ 545 w 580"/>
                  <a:gd name="T7" fmla="*/ 0 h 458"/>
                  <a:gd name="T8" fmla="*/ 519 w 580"/>
                  <a:gd name="T9" fmla="*/ 16 h 458"/>
                  <a:gd name="T10" fmla="*/ 344 w 580"/>
                  <a:gd name="T11" fmla="*/ 210 h 458"/>
                  <a:gd name="T12" fmla="*/ 334 w 580"/>
                  <a:gd name="T13" fmla="*/ 229 h 458"/>
                  <a:gd name="T14" fmla="*/ 344 w 580"/>
                  <a:gd name="T15" fmla="*/ 248 h 458"/>
                  <a:gd name="T16" fmla="*/ 519 w 580"/>
                  <a:gd name="T17" fmla="*/ 442 h 458"/>
                  <a:gd name="T18" fmla="*/ 545 w 580"/>
                  <a:gd name="T19" fmla="*/ 458 h 458"/>
                  <a:gd name="T20" fmla="*/ 580 w 580"/>
                  <a:gd name="T21" fmla="*/ 438 h 458"/>
                  <a:gd name="T22" fmla="*/ 570 w 580"/>
                  <a:gd name="T23" fmla="*/ 421 h 458"/>
                  <a:gd name="T24" fmla="*/ 411 w 580"/>
                  <a:gd name="T25" fmla="*/ 245 h 458"/>
                  <a:gd name="T26" fmla="*/ 399 w 580"/>
                  <a:gd name="T27" fmla="*/ 229 h 458"/>
                  <a:gd name="T28" fmla="*/ 411 w 580"/>
                  <a:gd name="T29" fmla="*/ 213 h 458"/>
                  <a:gd name="T30" fmla="*/ 252 w 580"/>
                  <a:gd name="T31" fmla="*/ 439 h 458"/>
                  <a:gd name="T32" fmla="*/ 281 w 580"/>
                  <a:gd name="T33" fmla="*/ 454 h 458"/>
                  <a:gd name="T34" fmla="*/ 309 w 580"/>
                  <a:gd name="T35" fmla="*/ 439 h 458"/>
                  <a:gd name="T36" fmla="*/ 309 w 580"/>
                  <a:gd name="T37" fmla="*/ 19 h 458"/>
                  <a:gd name="T38" fmla="*/ 281 w 580"/>
                  <a:gd name="T39" fmla="*/ 4 h 458"/>
                  <a:gd name="T40" fmla="*/ 252 w 580"/>
                  <a:gd name="T41" fmla="*/ 19 h 458"/>
                  <a:gd name="T42" fmla="*/ 252 w 580"/>
                  <a:gd name="T43" fmla="*/ 439 h 458"/>
                  <a:gd name="T44" fmla="*/ 0 w 580"/>
                  <a:gd name="T45" fmla="*/ 439 h 458"/>
                  <a:gd name="T46" fmla="*/ 28 w 580"/>
                  <a:gd name="T47" fmla="*/ 454 h 458"/>
                  <a:gd name="T48" fmla="*/ 56 w 580"/>
                  <a:gd name="T49" fmla="*/ 439 h 458"/>
                  <a:gd name="T50" fmla="*/ 56 w 580"/>
                  <a:gd name="T51" fmla="*/ 157 h 458"/>
                  <a:gd name="T52" fmla="*/ 165 w 580"/>
                  <a:gd name="T53" fmla="*/ 53 h 458"/>
                  <a:gd name="T54" fmla="*/ 180 w 580"/>
                  <a:gd name="T55" fmla="*/ 53 h 458"/>
                  <a:gd name="T56" fmla="*/ 196 w 580"/>
                  <a:gd name="T57" fmla="*/ 27 h 458"/>
                  <a:gd name="T58" fmla="*/ 154 w 580"/>
                  <a:gd name="T59" fmla="*/ 4 h 458"/>
                  <a:gd name="T60" fmla="*/ 0 w 580"/>
                  <a:gd name="T61" fmla="*/ 152 h 458"/>
                  <a:gd name="T62" fmla="*/ 0 w 580"/>
                  <a:gd name="T63" fmla="*/ 439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80" h="458">
                    <a:moveTo>
                      <a:pt x="411" y="213"/>
                    </a:moveTo>
                    <a:cubicBezTo>
                      <a:pt x="570" y="37"/>
                      <a:pt x="570" y="37"/>
                      <a:pt x="570" y="37"/>
                    </a:cubicBezTo>
                    <a:cubicBezTo>
                      <a:pt x="576" y="30"/>
                      <a:pt x="580" y="25"/>
                      <a:pt x="580" y="20"/>
                    </a:cubicBezTo>
                    <a:cubicBezTo>
                      <a:pt x="580" y="10"/>
                      <a:pt x="559" y="0"/>
                      <a:pt x="545" y="0"/>
                    </a:cubicBezTo>
                    <a:cubicBezTo>
                      <a:pt x="535" y="0"/>
                      <a:pt x="526" y="8"/>
                      <a:pt x="519" y="16"/>
                    </a:cubicBezTo>
                    <a:cubicBezTo>
                      <a:pt x="344" y="210"/>
                      <a:pt x="344" y="210"/>
                      <a:pt x="344" y="210"/>
                    </a:cubicBezTo>
                    <a:cubicBezTo>
                      <a:pt x="336" y="219"/>
                      <a:pt x="334" y="224"/>
                      <a:pt x="334" y="229"/>
                    </a:cubicBezTo>
                    <a:cubicBezTo>
                      <a:pt x="334" y="234"/>
                      <a:pt x="336" y="239"/>
                      <a:pt x="344" y="248"/>
                    </a:cubicBezTo>
                    <a:cubicBezTo>
                      <a:pt x="519" y="442"/>
                      <a:pt x="519" y="442"/>
                      <a:pt x="519" y="442"/>
                    </a:cubicBezTo>
                    <a:cubicBezTo>
                      <a:pt x="526" y="450"/>
                      <a:pt x="535" y="458"/>
                      <a:pt x="545" y="458"/>
                    </a:cubicBezTo>
                    <a:cubicBezTo>
                      <a:pt x="559" y="458"/>
                      <a:pt x="580" y="448"/>
                      <a:pt x="580" y="438"/>
                    </a:cubicBezTo>
                    <a:cubicBezTo>
                      <a:pt x="580" y="433"/>
                      <a:pt x="576" y="428"/>
                      <a:pt x="570" y="421"/>
                    </a:cubicBezTo>
                    <a:cubicBezTo>
                      <a:pt x="411" y="245"/>
                      <a:pt x="411" y="245"/>
                      <a:pt x="411" y="245"/>
                    </a:cubicBezTo>
                    <a:cubicBezTo>
                      <a:pt x="403" y="236"/>
                      <a:pt x="399" y="232"/>
                      <a:pt x="399" y="229"/>
                    </a:cubicBezTo>
                    <a:cubicBezTo>
                      <a:pt x="399" y="226"/>
                      <a:pt x="403" y="222"/>
                      <a:pt x="411" y="213"/>
                    </a:cubicBezTo>
                    <a:moveTo>
                      <a:pt x="252" y="439"/>
                    </a:moveTo>
                    <a:cubicBezTo>
                      <a:pt x="252" y="449"/>
                      <a:pt x="261" y="454"/>
                      <a:pt x="281" y="454"/>
                    </a:cubicBezTo>
                    <a:cubicBezTo>
                      <a:pt x="300" y="454"/>
                      <a:pt x="309" y="449"/>
                      <a:pt x="309" y="439"/>
                    </a:cubicBezTo>
                    <a:cubicBezTo>
                      <a:pt x="309" y="19"/>
                      <a:pt x="309" y="19"/>
                      <a:pt x="309" y="19"/>
                    </a:cubicBezTo>
                    <a:cubicBezTo>
                      <a:pt x="309" y="9"/>
                      <a:pt x="300" y="4"/>
                      <a:pt x="281" y="4"/>
                    </a:cubicBezTo>
                    <a:cubicBezTo>
                      <a:pt x="261" y="4"/>
                      <a:pt x="252" y="9"/>
                      <a:pt x="252" y="19"/>
                    </a:cubicBezTo>
                    <a:lnTo>
                      <a:pt x="252" y="439"/>
                    </a:lnTo>
                    <a:close/>
                    <a:moveTo>
                      <a:pt x="0" y="439"/>
                    </a:moveTo>
                    <a:cubicBezTo>
                      <a:pt x="0" y="449"/>
                      <a:pt x="8" y="454"/>
                      <a:pt x="28" y="454"/>
                    </a:cubicBezTo>
                    <a:cubicBezTo>
                      <a:pt x="48" y="454"/>
                      <a:pt x="56" y="449"/>
                      <a:pt x="56" y="439"/>
                    </a:cubicBezTo>
                    <a:cubicBezTo>
                      <a:pt x="56" y="157"/>
                      <a:pt x="56" y="157"/>
                      <a:pt x="56" y="157"/>
                    </a:cubicBezTo>
                    <a:cubicBezTo>
                      <a:pt x="56" y="83"/>
                      <a:pt x="85" y="53"/>
                      <a:pt x="165" y="53"/>
                    </a:cubicBezTo>
                    <a:cubicBezTo>
                      <a:pt x="180" y="53"/>
                      <a:pt x="180" y="53"/>
                      <a:pt x="180" y="53"/>
                    </a:cubicBezTo>
                    <a:cubicBezTo>
                      <a:pt x="192" y="53"/>
                      <a:pt x="196" y="43"/>
                      <a:pt x="196" y="27"/>
                    </a:cubicBezTo>
                    <a:cubicBezTo>
                      <a:pt x="196" y="8"/>
                      <a:pt x="185" y="4"/>
                      <a:pt x="154" y="4"/>
                    </a:cubicBezTo>
                    <a:cubicBezTo>
                      <a:pt x="64" y="4"/>
                      <a:pt x="0" y="43"/>
                      <a:pt x="0" y="152"/>
                    </a:cubicBezTo>
                    <a:lnTo>
                      <a:pt x="0" y="4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2" name="Freeform 7">
                <a:extLst>
                  <a:ext uri="{FF2B5EF4-FFF2-40B4-BE49-F238E27FC236}">
                    <a16:creationId xmlns:a16="http://schemas.microsoft.com/office/drawing/2014/main" id="{2F32DCBD-8628-F245-85CD-97686A20EC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80" y="1704"/>
                <a:ext cx="618" cy="916"/>
              </a:xfrm>
              <a:custGeom>
                <a:avLst/>
                <a:gdLst>
                  <a:gd name="T0" fmla="*/ 307 w 307"/>
                  <a:gd name="T1" fmla="*/ 405 h 455"/>
                  <a:gd name="T2" fmla="*/ 307 w 307"/>
                  <a:gd name="T3" fmla="*/ 244 h 455"/>
                  <a:gd name="T4" fmla="*/ 279 w 307"/>
                  <a:gd name="T5" fmla="*/ 229 h 455"/>
                  <a:gd name="T6" fmla="*/ 250 w 307"/>
                  <a:gd name="T7" fmla="*/ 244 h 455"/>
                  <a:gd name="T8" fmla="*/ 250 w 307"/>
                  <a:gd name="T9" fmla="*/ 378 h 455"/>
                  <a:gd name="T10" fmla="*/ 199 w 307"/>
                  <a:gd name="T11" fmla="*/ 408 h 455"/>
                  <a:gd name="T12" fmla="*/ 61 w 307"/>
                  <a:gd name="T13" fmla="*/ 231 h 455"/>
                  <a:gd name="T14" fmla="*/ 238 w 307"/>
                  <a:gd name="T15" fmla="*/ 49 h 455"/>
                  <a:gd name="T16" fmla="*/ 270 w 307"/>
                  <a:gd name="T17" fmla="*/ 49 h 455"/>
                  <a:gd name="T18" fmla="*/ 286 w 307"/>
                  <a:gd name="T19" fmla="*/ 23 h 455"/>
                  <a:gd name="T20" fmla="*/ 244 w 307"/>
                  <a:gd name="T21" fmla="*/ 0 h 455"/>
                  <a:gd name="T22" fmla="*/ 231 w 307"/>
                  <a:gd name="T23" fmla="*/ 0 h 455"/>
                  <a:gd name="T24" fmla="*/ 0 w 307"/>
                  <a:gd name="T25" fmla="*/ 232 h 455"/>
                  <a:gd name="T26" fmla="*/ 198 w 307"/>
                  <a:gd name="T27" fmla="*/ 455 h 455"/>
                  <a:gd name="T28" fmla="*/ 307 w 307"/>
                  <a:gd name="T29" fmla="*/ 40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7" h="455">
                    <a:moveTo>
                      <a:pt x="307" y="405"/>
                    </a:moveTo>
                    <a:cubicBezTo>
                      <a:pt x="307" y="244"/>
                      <a:pt x="307" y="244"/>
                      <a:pt x="307" y="244"/>
                    </a:cubicBezTo>
                    <a:cubicBezTo>
                      <a:pt x="307" y="234"/>
                      <a:pt x="298" y="229"/>
                      <a:pt x="279" y="229"/>
                    </a:cubicBezTo>
                    <a:cubicBezTo>
                      <a:pt x="259" y="229"/>
                      <a:pt x="250" y="234"/>
                      <a:pt x="250" y="244"/>
                    </a:cubicBezTo>
                    <a:cubicBezTo>
                      <a:pt x="250" y="378"/>
                      <a:pt x="250" y="378"/>
                      <a:pt x="250" y="378"/>
                    </a:cubicBezTo>
                    <a:cubicBezTo>
                      <a:pt x="250" y="399"/>
                      <a:pt x="241" y="408"/>
                      <a:pt x="199" y="408"/>
                    </a:cubicBezTo>
                    <a:cubicBezTo>
                      <a:pt x="114" y="408"/>
                      <a:pt x="61" y="342"/>
                      <a:pt x="61" y="231"/>
                    </a:cubicBezTo>
                    <a:cubicBezTo>
                      <a:pt x="61" y="115"/>
                      <a:pt x="126" y="49"/>
                      <a:pt x="238" y="49"/>
                    </a:cubicBezTo>
                    <a:cubicBezTo>
                      <a:pt x="270" y="49"/>
                      <a:pt x="270" y="49"/>
                      <a:pt x="270" y="49"/>
                    </a:cubicBezTo>
                    <a:cubicBezTo>
                      <a:pt x="282" y="49"/>
                      <a:pt x="286" y="39"/>
                      <a:pt x="286" y="23"/>
                    </a:cubicBezTo>
                    <a:cubicBezTo>
                      <a:pt x="286" y="4"/>
                      <a:pt x="275" y="0"/>
                      <a:pt x="244" y="0"/>
                    </a:cubicBezTo>
                    <a:cubicBezTo>
                      <a:pt x="231" y="0"/>
                      <a:pt x="231" y="0"/>
                      <a:pt x="231" y="0"/>
                    </a:cubicBezTo>
                    <a:cubicBezTo>
                      <a:pt x="101" y="0"/>
                      <a:pt x="0" y="71"/>
                      <a:pt x="0" y="232"/>
                    </a:cubicBezTo>
                    <a:cubicBezTo>
                      <a:pt x="0" y="386"/>
                      <a:pt x="88" y="455"/>
                      <a:pt x="198" y="455"/>
                    </a:cubicBezTo>
                    <a:cubicBezTo>
                      <a:pt x="286" y="455"/>
                      <a:pt x="307" y="430"/>
                      <a:pt x="307" y="40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3" name="Oval 8">
                <a:extLst>
                  <a:ext uri="{FF2B5EF4-FFF2-40B4-BE49-F238E27FC236}">
                    <a16:creationId xmlns:a16="http://schemas.microsoft.com/office/drawing/2014/main" id="{60D97C11-1A3B-5449-A48D-98A3E79B381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778" y="2099"/>
                <a:ext cx="122" cy="12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4" name="Freeform 9">
                <a:extLst>
                  <a:ext uri="{FF2B5EF4-FFF2-40B4-BE49-F238E27FC236}">
                    <a16:creationId xmlns:a16="http://schemas.microsoft.com/office/drawing/2014/main" id="{5856770D-B8F0-244E-A05D-AED190086F1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623" y="1696"/>
                <a:ext cx="1167" cy="922"/>
              </a:xfrm>
              <a:custGeom>
                <a:avLst/>
                <a:gdLst>
                  <a:gd name="T0" fmla="*/ 411 w 580"/>
                  <a:gd name="T1" fmla="*/ 213 h 458"/>
                  <a:gd name="T2" fmla="*/ 570 w 580"/>
                  <a:gd name="T3" fmla="*/ 37 h 458"/>
                  <a:gd name="T4" fmla="*/ 580 w 580"/>
                  <a:gd name="T5" fmla="*/ 20 h 458"/>
                  <a:gd name="T6" fmla="*/ 545 w 580"/>
                  <a:gd name="T7" fmla="*/ 0 h 458"/>
                  <a:gd name="T8" fmla="*/ 519 w 580"/>
                  <a:gd name="T9" fmla="*/ 16 h 458"/>
                  <a:gd name="T10" fmla="*/ 344 w 580"/>
                  <a:gd name="T11" fmla="*/ 210 h 458"/>
                  <a:gd name="T12" fmla="*/ 334 w 580"/>
                  <a:gd name="T13" fmla="*/ 229 h 458"/>
                  <a:gd name="T14" fmla="*/ 344 w 580"/>
                  <a:gd name="T15" fmla="*/ 248 h 458"/>
                  <a:gd name="T16" fmla="*/ 519 w 580"/>
                  <a:gd name="T17" fmla="*/ 442 h 458"/>
                  <a:gd name="T18" fmla="*/ 545 w 580"/>
                  <a:gd name="T19" fmla="*/ 458 h 458"/>
                  <a:gd name="T20" fmla="*/ 580 w 580"/>
                  <a:gd name="T21" fmla="*/ 438 h 458"/>
                  <a:gd name="T22" fmla="*/ 570 w 580"/>
                  <a:gd name="T23" fmla="*/ 421 h 458"/>
                  <a:gd name="T24" fmla="*/ 411 w 580"/>
                  <a:gd name="T25" fmla="*/ 245 h 458"/>
                  <a:gd name="T26" fmla="*/ 399 w 580"/>
                  <a:gd name="T27" fmla="*/ 229 h 458"/>
                  <a:gd name="T28" fmla="*/ 411 w 580"/>
                  <a:gd name="T29" fmla="*/ 213 h 458"/>
                  <a:gd name="T30" fmla="*/ 252 w 580"/>
                  <a:gd name="T31" fmla="*/ 439 h 458"/>
                  <a:gd name="T32" fmla="*/ 281 w 580"/>
                  <a:gd name="T33" fmla="*/ 454 h 458"/>
                  <a:gd name="T34" fmla="*/ 309 w 580"/>
                  <a:gd name="T35" fmla="*/ 439 h 458"/>
                  <a:gd name="T36" fmla="*/ 309 w 580"/>
                  <a:gd name="T37" fmla="*/ 19 h 458"/>
                  <a:gd name="T38" fmla="*/ 281 w 580"/>
                  <a:gd name="T39" fmla="*/ 4 h 458"/>
                  <a:gd name="T40" fmla="*/ 252 w 580"/>
                  <a:gd name="T41" fmla="*/ 19 h 458"/>
                  <a:gd name="T42" fmla="*/ 252 w 580"/>
                  <a:gd name="T43" fmla="*/ 439 h 458"/>
                  <a:gd name="T44" fmla="*/ 0 w 580"/>
                  <a:gd name="T45" fmla="*/ 439 h 458"/>
                  <a:gd name="T46" fmla="*/ 28 w 580"/>
                  <a:gd name="T47" fmla="*/ 454 h 458"/>
                  <a:gd name="T48" fmla="*/ 56 w 580"/>
                  <a:gd name="T49" fmla="*/ 439 h 458"/>
                  <a:gd name="T50" fmla="*/ 56 w 580"/>
                  <a:gd name="T51" fmla="*/ 157 h 458"/>
                  <a:gd name="T52" fmla="*/ 165 w 580"/>
                  <a:gd name="T53" fmla="*/ 53 h 458"/>
                  <a:gd name="T54" fmla="*/ 180 w 580"/>
                  <a:gd name="T55" fmla="*/ 53 h 458"/>
                  <a:gd name="T56" fmla="*/ 196 w 580"/>
                  <a:gd name="T57" fmla="*/ 27 h 458"/>
                  <a:gd name="T58" fmla="*/ 154 w 580"/>
                  <a:gd name="T59" fmla="*/ 4 h 458"/>
                  <a:gd name="T60" fmla="*/ 0 w 580"/>
                  <a:gd name="T61" fmla="*/ 152 h 458"/>
                  <a:gd name="T62" fmla="*/ 0 w 580"/>
                  <a:gd name="T63" fmla="*/ 439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80" h="458">
                    <a:moveTo>
                      <a:pt x="411" y="213"/>
                    </a:moveTo>
                    <a:cubicBezTo>
                      <a:pt x="570" y="37"/>
                      <a:pt x="570" y="37"/>
                      <a:pt x="570" y="37"/>
                    </a:cubicBezTo>
                    <a:cubicBezTo>
                      <a:pt x="576" y="30"/>
                      <a:pt x="580" y="25"/>
                      <a:pt x="580" y="20"/>
                    </a:cubicBezTo>
                    <a:cubicBezTo>
                      <a:pt x="580" y="10"/>
                      <a:pt x="559" y="0"/>
                      <a:pt x="545" y="0"/>
                    </a:cubicBezTo>
                    <a:cubicBezTo>
                      <a:pt x="535" y="0"/>
                      <a:pt x="526" y="8"/>
                      <a:pt x="519" y="16"/>
                    </a:cubicBezTo>
                    <a:cubicBezTo>
                      <a:pt x="344" y="210"/>
                      <a:pt x="344" y="210"/>
                      <a:pt x="344" y="210"/>
                    </a:cubicBezTo>
                    <a:cubicBezTo>
                      <a:pt x="336" y="219"/>
                      <a:pt x="334" y="224"/>
                      <a:pt x="334" y="229"/>
                    </a:cubicBezTo>
                    <a:cubicBezTo>
                      <a:pt x="334" y="234"/>
                      <a:pt x="336" y="239"/>
                      <a:pt x="344" y="248"/>
                    </a:cubicBezTo>
                    <a:cubicBezTo>
                      <a:pt x="519" y="442"/>
                      <a:pt x="519" y="442"/>
                      <a:pt x="519" y="442"/>
                    </a:cubicBezTo>
                    <a:cubicBezTo>
                      <a:pt x="526" y="450"/>
                      <a:pt x="535" y="458"/>
                      <a:pt x="545" y="458"/>
                    </a:cubicBezTo>
                    <a:cubicBezTo>
                      <a:pt x="559" y="458"/>
                      <a:pt x="580" y="448"/>
                      <a:pt x="580" y="438"/>
                    </a:cubicBezTo>
                    <a:cubicBezTo>
                      <a:pt x="580" y="433"/>
                      <a:pt x="576" y="428"/>
                      <a:pt x="570" y="421"/>
                    </a:cubicBezTo>
                    <a:cubicBezTo>
                      <a:pt x="411" y="245"/>
                      <a:pt x="411" y="245"/>
                      <a:pt x="411" y="245"/>
                    </a:cubicBezTo>
                    <a:cubicBezTo>
                      <a:pt x="403" y="236"/>
                      <a:pt x="399" y="232"/>
                      <a:pt x="399" y="229"/>
                    </a:cubicBezTo>
                    <a:cubicBezTo>
                      <a:pt x="399" y="226"/>
                      <a:pt x="403" y="222"/>
                      <a:pt x="411" y="213"/>
                    </a:cubicBezTo>
                    <a:moveTo>
                      <a:pt x="252" y="439"/>
                    </a:moveTo>
                    <a:cubicBezTo>
                      <a:pt x="252" y="449"/>
                      <a:pt x="261" y="454"/>
                      <a:pt x="281" y="454"/>
                    </a:cubicBezTo>
                    <a:cubicBezTo>
                      <a:pt x="300" y="454"/>
                      <a:pt x="309" y="449"/>
                      <a:pt x="309" y="439"/>
                    </a:cubicBezTo>
                    <a:cubicBezTo>
                      <a:pt x="309" y="19"/>
                      <a:pt x="309" y="19"/>
                      <a:pt x="309" y="19"/>
                    </a:cubicBezTo>
                    <a:cubicBezTo>
                      <a:pt x="309" y="9"/>
                      <a:pt x="300" y="4"/>
                      <a:pt x="281" y="4"/>
                    </a:cubicBezTo>
                    <a:cubicBezTo>
                      <a:pt x="261" y="4"/>
                      <a:pt x="252" y="9"/>
                      <a:pt x="252" y="19"/>
                    </a:cubicBezTo>
                    <a:lnTo>
                      <a:pt x="252" y="439"/>
                    </a:lnTo>
                    <a:close/>
                    <a:moveTo>
                      <a:pt x="0" y="439"/>
                    </a:moveTo>
                    <a:cubicBezTo>
                      <a:pt x="0" y="449"/>
                      <a:pt x="8" y="454"/>
                      <a:pt x="28" y="454"/>
                    </a:cubicBezTo>
                    <a:cubicBezTo>
                      <a:pt x="48" y="454"/>
                      <a:pt x="56" y="449"/>
                      <a:pt x="56" y="439"/>
                    </a:cubicBezTo>
                    <a:cubicBezTo>
                      <a:pt x="56" y="157"/>
                      <a:pt x="56" y="157"/>
                      <a:pt x="56" y="157"/>
                    </a:cubicBezTo>
                    <a:cubicBezTo>
                      <a:pt x="56" y="83"/>
                      <a:pt x="85" y="53"/>
                      <a:pt x="165" y="53"/>
                    </a:cubicBezTo>
                    <a:cubicBezTo>
                      <a:pt x="180" y="53"/>
                      <a:pt x="180" y="53"/>
                      <a:pt x="180" y="53"/>
                    </a:cubicBezTo>
                    <a:cubicBezTo>
                      <a:pt x="192" y="53"/>
                      <a:pt x="196" y="43"/>
                      <a:pt x="196" y="27"/>
                    </a:cubicBezTo>
                    <a:cubicBezTo>
                      <a:pt x="196" y="8"/>
                      <a:pt x="185" y="4"/>
                      <a:pt x="154" y="4"/>
                    </a:cubicBezTo>
                    <a:cubicBezTo>
                      <a:pt x="64" y="4"/>
                      <a:pt x="0" y="43"/>
                      <a:pt x="0" y="152"/>
                    </a:cubicBezTo>
                    <a:lnTo>
                      <a:pt x="0" y="4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5" name="Freeform 10">
                <a:extLst>
                  <a:ext uri="{FF2B5EF4-FFF2-40B4-BE49-F238E27FC236}">
                    <a16:creationId xmlns:a16="http://schemas.microsoft.com/office/drawing/2014/main" id="{2B91B16B-BC11-E547-8FAC-B9B8D18EA4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80" y="1704"/>
                <a:ext cx="618" cy="916"/>
              </a:xfrm>
              <a:custGeom>
                <a:avLst/>
                <a:gdLst>
                  <a:gd name="T0" fmla="*/ 307 w 307"/>
                  <a:gd name="T1" fmla="*/ 405 h 455"/>
                  <a:gd name="T2" fmla="*/ 307 w 307"/>
                  <a:gd name="T3" fmla="*/ 244 h 455"/>
                  <a:gd name="T4" fmla="*/ 279 w 307"/>
                  <a:gd name="T5" fmla="*/ 229 h 455"/>
                  <a:gd name="T6" fmla="*/ 250 w 307"/>
                  <a:gd name="T7" fmla="*/ 244 h 455"/>
                  <a:gd name="T8" fmla="*/ 250 w 307"/>
                  <a:gd name="T9" fmla="*/ 378 h 455"/>
                  <a:gd name="T10" fmla="*/ 199 w 307"/>
                  <a:gd name="T11" fmla="*/ 408 h 455"/>
                  <a:gd name="T12" fmla="*/ 61 w 307"/>
                  <a:gd name="T13" fmla="*/ 231 h 455"/>
                  <a:gd name="T14" fmla="*/ 238 w 307"/>
                  <a:gd name="T15" fmla="*/ 49 h 455"/>
                  <a:gd name="T16" fmla="*/ 270 w 307"/>
                  <a:gd name="T17" fmla="*/ 49 h 455"/>
                  <a:gd name="T18" fmla="*/ 286 w 307"/>
                  <a:gd name="T19" fmla="*/ 23 h 455"/>
                  <a:gd name="T20" fmla="*/ 244 w 307"/>
                  <a:gd name="T21" fmla="*/ 0 h 455"/>
                  <a:gd name="T22" fmla="*/ 231 w 307"/>
                  <a:gd name="T23" fmla="*/ 0 h 455"/>
                  <a:gd name="T24" fmla="*/ 0 w 307"/>
                  <a:gd name="T25" fmla="*/ 232 h 455"/>
                  <a:gd name="T26" fmla="*/ 198 w 307"/>
                  <a:gd name="T27" fmla="*/ 455 h 455"/>
                  <a:gd name="T28" fmla="*/ 307 w 307"/>
                  <a:gd name="T29" fmla="*/ 40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7" h="455">
                    <a:moveTo>
                      <a:pt x="307" y="405"/>
                    </a:moveTo>
                    <a:cubicBezTo>
                      <a:pt x="307" y="244"/>
                      <a:pt x="307" y="244"/>
                      <a:pt x="307" y="244"/>
                    </a:cubicBezTo>
                    <a:cubicBezTo>
                      <a:pt x="307" y="234"/>
                      <a:pt x="298" y="229"/>
                      <a:pt x="279" y="229"/>
                    </a:cubicBezTo>
                    <a:cubicBezTo>
                      <a:pt x="259" y="229"/>
                      <a:pt x="250" y="234"/>
                      <a:pt x="250" y="244"/>
                    </a:cubicBezTo>
                    <a:cubicBezTo>
                      <a:pt x="250" y="378"/>
                      <a:pt x="250" y="378"/>
                      <a:pt x="250" y="378"/>
                    </a:cubicBezTo>
                    <a:cubicBezTo>
                      <a:pt x="250" y="399"/>
                      <a:pt x="241" y="408"/>
                      <a:pt x="199" y="408"/>
                    </a:cubicBezTo>
                    <a:cubicBezTo>
                      <a:pt x="114" y="408"/>
                      <a:pt x="61" y="342"/>
                      <a:pt x="61" y="231"/>
                    </a:cubicBezTo>
                    <a:cubicBezTo>
                      <a:pt x="61" y="115"/>
                      <a:pt x="126" y="49"/>
                      <a:pt x="238" y="49"/>
                    </a:cubicBezTo>
                    <a:cubicBezTo>
                      <a:pt x="270" y="49"/>
                      <a:pt x="270" y="49"/>
                      <a:pt x="270" y="49"/>
                    </a:cubicBezTo>
                    <a:cubicBezTo>
                      <a:pt x="282" y="49"/>
                      <a:pt x="286" y="39"/>
                      <a:pt x="286" y="23"/>
                    </a:cubicBezTo>
                    <a:cubicBezTo>
                      <a:pt x="286" y="4"/>
                      <a:pt x="275" y="0"/>
                      <a:pt x="244" y="0"/>
                    </a:cubicBezTo>
                    <a:cubicBezTo>
                      <a:pt x="231" y="0"/>
                      <a:pt x="231" y="0"/>
                      <a:pt x="231" y="0"/>
                    </a:cubicBezTo>
                    <a:cubicBezTo>
                      <a:pt x="101" y="0"/>
                      <a:pt x="0" y="71"/>
                      <a:pt x="0" y="232"/>
                    </a:cubicBezTo>
                    <a:cubicBezTo>
                      <a:pt x="0" y="386"/>
                      <a:pt x="88" y="455"/>
                      <a:pt x="198" y="455"/>
                    </a:cubicBezTo>
                    <a:cubicBezTo>
                      <a:pt x="286" y="455"/>
                      <a:pt x="307" y="430"/>
                      <a:pt x="307" y="40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6" name="Oval 11">
                <a:extLst>
                  <a:ext uri="{FF2B5EF4-FFF2-40B4-BE49-F238E27FC236}">
                    <a16:creationId xmlns:a16="http://schemas.microsoft.com/office/drawing/2014/main" id="{14F8C3C8-4888-7646-B9B4-64EB46A1DA2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778" y="2099"/>
                <a:ext cx="122" cy="12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7" name="Freeform 12">
                <a:extLst>
                  <a:ext uri="{FF2B5EF4-FFF2-40B4-BE49-F238E27FC236}">
                    <a16:creationId xmlns:a16="http://schemas.microsoft.com/office/drawing/2014/main" id="{D79D01D1-4E3E-F34B-97D7-2D387E6874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21" y="1029"/>
                <a:ext cx="648" cy="649"/>
              </a:xfrm>
              <a:custGeom>
                <a:avLst/>
                <a:gdLst>
                  <a:gd name="T0" fmla="*/ 0 w 648"/>
                  <a:gd name="T1" fmla="*/ 649 h 649"/>
                  <a:gd name="T2" fmla="*/ 2 w 648"/>
                  <a:gd name="T3" fmla="*/ 649 h 649"/>
                  <a:gd name="T4" fmla="*/ 648 w 648"/>
                  <a:gd name="T5" fmla="*/ 0 h 649"/>
                  <a:gd name="T6" fmla="*/ 423 w 648"/>
                  <a:gd name="T7" fmla="*/ 0 h 649"/>
                  <a:gd name="T8" fmla="*/ 0 w 648"/>
                  <a:gd name="T9" fmla="*/ 649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8" h="649">
                    <a:moveTo>
                      <a:pt x="0" y="649"/>
                    </a:moveTo>
                    <a:lnTo>
                      <a:pt x="2" y="649"/>
                    </a:lnTo>
                    <a:lnTo>
                      <a:pt x="648" y="0"/>
                    </a:lnTo>
                    <a:lnTo>
                      <a:pt x="423" y="0"/>
                    </a:lnTo>
                    <a:lnTo>
                      <a:pt x="0" y="64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8" name="Freeform 13">
                <a:extLst>
                  <a:ext uri="{FF2B5EF4-FFF2-40B4-BE49-F238E27FC236}">
                    <a16:creationId xmlns:a16="http://schemas.microsoft.com/office/drawing/2014/main" id="{46549898-6C52-B147-A8F6-A73FDBE616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21" y="1029"/>
                <a:ext cx="648" cy="649"/>
              </a:xfrm>
              <a:custGeom>
                <a:avLst/>
                <a:gdLst>
                  <a:gd name="T0" fmla="*/ 0 w 648"/>
                  <a:gd name="T1" fmla="*/ 649 h 649"/>
                  <a:gd name="T2" fmla="*/ 2 w 648"/>
                  <a:gd name="T3" fmla="*/ 649 h 649"/>
                  <a:gd name="T4" fmla="*/ 648 w 648"/>
                  <a:gd name="T5" fmla="*/ 0 h 649"/>
                  <a:gd name="T6" fmla="*/ 423 w 648"/>
                  <a:gd name="T7" fmla="*/ 0 h 649"/>
                  <a:gd name="T8" fmla="*/ 0 w 648"/>
                  <a:gd name="T9" fmla="*/ 649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8" h="649">
                    <a:moveTo>
                      <a:pt x="0" y="649"/>
                    </a:moveTo>
                    <a:lnTo>
                      <a:pt x="2" y="649"/>
                    </a:lnTo>
                    <a:lnTo>
                      <a:pt x="648" y="0"/>
                    </a:lnTo>
                    <a:lnTo>
                      <a:pt x="423" y="0"/>
                    </a:lnTo>
                    <a:lnTo>
                      <a:pt x="0" y="649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</p:grpSp>
      </p:grp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7630F4D0-4FCA-495D-93CB-4308FDD6CACA}" type="datetime5">
              <a:rPr lang="en-US" smtClean="0"/>
              <a:t>18-Nov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E3B25F7-8D1F-44B5-B485-EE3C438CFD7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24589" y="1628775"/>
            <a:ext cx="5707662" cy="2236264"/>
          </a:xfrm>
        </p:spPr>
        <p:txBody>
          <a:bodyPr anchor="b"/>
          <a:lstStyle>
            <a:lvl1pPr algn="l">
              <a:defRPr sz="3600" baseline="0"/>
            </a:lvl1pPr>
          </a:lstStyle>
          <a:p>
            <a:r>
              <a:rPr lang="en-US" dirty="0"/>
              <a:t>Click to add a longer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24589" y="4094163"/>
            <a:ext cx="5707662" cy="108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5393268"/>
            <a:ext cx="2494933" cy="296332"/>
          </a:xfrm>
        </p:spPr>
        <p:txBody>
          <a:bodyPr wrap="none"/>
          <a:lstStyle>
            <a:lvl1pPr marL="0" indent="0">
              <a:spcBef>
                <a:spcPts val="0"/>
              </a:spcBef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4" name="Text Placeholder 30"/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5691446"/>
            <a:ext cx="2494933" cy="296332"/>
          </a:xfrm>
        </p:spPr>
        <p:txBody>
          <a:bodyPr wrap="none"/>
          <a:lstStyle>
            <a:lvl1pPr marL="0" indent="0">
              <a:spcBef>
                <a:spcPts val="0"/>
              </a:spcBef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/>
              <a:t>Department</a:t>
            </a:r>
          </a:p>
        </p:txBody>
      </p:sp>
    </p:spTree>
    <p:extLst>
      <p:ext uri="{BB962C8B-B14F-4D97-AF65-F5344CB8AC3E}">
        <p14:creationId xmlns:p14="http://schemas.microsoft.com/office/powerpoint/2010/main" val="38004486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1056217" y="1833656"/>
            <a:ext cx="3203503" cy="3935319"/>
          </a:xfr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1" name="Date Placeholder 20"/>
          <p:cNvSpPr>
            <a:spLocks noGrp="1"/>
          </p:cNvSpPr>
          <p:nvPr>
            <p:ph type="dt" sz="half" idx="14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/>
          <a:p>
            <a:fld id="{59171ED9-6851-4525-A763-2524710A57F8}" type="datetime5">
              <a:rPr lang="en-US" smtClean="0"/>
              <a:t>18-Nov-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5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F3E29E4-0979-4FCA-B4C5-5FC6044C982A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contact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1075061" y="964671"/>
            <a:ext cx="7910158" cy="490042"/>
          </a:xfrm>
        </p:spPr>
        <p:txBody>
          <a:bodyPr wrap="none"/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grpSp>
        <p:nvGrpSpPr>
          <p:cNvPr id="8" name="Gruppieren 80">
            <a:extLst>
              <a:ext uri="{FF2B5EF4-FFF2-40B4-BE49-F238E27FC236}">
                <a16:creationId xmlns:a16="http://schemas.microsoft.com/office/drawing/2014/main" id="{6B969E7B-9C39-4443-9B02-74C1E7C5CCAC}"/>
              </a:ext>
            </a:extLst>
          </p:cNvPr>
          <p:cNvGrpSpPr/>
          <p:nvPr/>
        </p:nvGrpSpPr>
        <p:grpSpPr>
          <a:xfrm>
            <a:off x="4451001" y="2884199"/>
            <a:ext cx="171180" cy="171180"/>
            <a:chOff x="3392092" y="1841122"/>
            <a:chExt cx="646508" cy="646508"/>
          </a:xfrm>
        </p:grpSpPr>
        <p:sp>
          <p:nvSpPr>
            <p:cNvPr id="9" name="Rechteck 14">
              <a:extLst>
                <a:ext uri="{FF2B5EF4-FFF2-40B4-BE49-F238E27FC236}">
                  <a16:creationId xmlns:a16="http://schemas.microsoft.com/office/drawing/2014/main" id="{D78F58EA-5525-8D43-8295-FEA52ECF6BF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392092" y="1841122"/>
              <a:ext cx="646508" cy="646508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Freeform 67">
              <a:extLst>
                <a:ext uri="{FF2B5EF4-FFF2-40B4-BE49-F238E27FC236}">
                  <a16:creationId xmlns:a16="http://schemas.microsoft.com/office/drawing/2014/main" id="{D01A6292-2776-4945-B828-483D79DC490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46638" y="1970424"/>
              <a:ext cx="337415" cy="387905"/>
            </a:xfrm>
            <a:custGeom>
              <a:avLst/>
              <a:gdLst>
                <a:gd name="T0" fmla="*/ 573 w 1624"/>
                <a:gd name="T1" fmla="*/ 1257 h 1867"/>
                <a:gd name="T2" fmla="*/ 662 w 1624"/>
                <a:gd name="T3" fmla="*/ 1288 h 1867"/>
                <a:gd name="T4" fmla="*/ 938 w 1624"/>
                <a:gd name="T5" fmla="*/ 1051 h 1867"/>
                <a:gd name="T6" fmla="*/ 1106 w 1624"/>
                <a:gd name="T7" fmla="*/ 731 h 1867"/>
                <a:gd name="T8" fmla="*/ 1059 w 1624"/>
                <a:gd name="T9" fmla="*/ 645 h 1867"/>
                <a:gd name="T10" fmla="*/ 1001 w 1624"/>
                <a:gd name="T11" fmla="*/ 613 h 1867"/>
                <a:gd name="T12" fmla="*/ 924 w 1624"/>
                <a:gd name="T13" fmla="*/ 432 h 1867"/>
                <a:gd name="T14" fmla="*/ 1114 w 1624"/>
                <a:gd name="T15" fmla="*/ 81 h 1867"/>
                <a:gd name="T16" fmla="*/ 1287 w 1624"/>
                <a:gd name="T17" fmla="*/ 35 h 1867"/>
                <a:gd name="T18" fmla="*/ 1350 w 1624"/>
                <a:gd name="T19" fmla="*/ 69 h 1867"/>
                <a:gd name="T20" fmla="*/ 1527 w 1624"/>
                <a:gd name="T21" fmla="*/ 235 h 1867"/>
                <a:gd name="T22" fmla="*/ 1583 w 1624"/>
                <a:gd name="T23" fmla="*/ 555 h 1867"/>
                <a:gd name="T24" fmla="*/ 1172 w 1624"/>
                <a:gd name="T25" fmla="*/ 1253 h 1867"/>
                <a:gd name="T26" fmla="*/ 586 w 1624"/>
                <a:gd name="T27" fmla="*/ 1803 h 1867"/>
                <a:gd name="T28" fmla="*/ 269 w 1624"/>
                <a:gd name="T29" fmla="*/ 1807 h 1867"/>
                <a:gd name="T30" fmla="*/ 33 w 1624"/>
                <a:gd name="T31" fmla="*/ 1602 h 1867"/>
                <a:gd name="T32" fmla="*/ 2 w 1624"/>
                <a:gd name="T33" fmla="*/ 1508 h 1867"/>
                <a:gd name="T34" fmla="*/ 45 w 1624"/>
                <a:gd name="T35" fmla="*/ 1421 h 1867"/>
                <a:gd name="T36" fmla="*/ 346 w 1624"/>
                <a:gd name="T37" fmla="*/ 1158 h 1867"/>
                <a:gd name="T38" fmla="*/ 448 w 1624"/>
                <a:gd name="T39" fmla="*/ 1145 h 1867"/>
                <a:gd name="T40" fmla="*/ 573 w 1624"/>
                <a:gd name="T41" fmla="*/ 1257 h 1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4" h="1867">
                  <a:moveTo>
                    <a:pt x="573" y="1257"/>
                  </a:moveTo>
                  <a:cubicBezTo>
                    <a:pt x="592" y="1282"/>
                    <a:pt x="630" y="1303"/>
                    <a:pt x="662" y="1288"/>
                  </a:cubicBezTo>
                  <a:cubicBezTo>
                    <a:pt x="753" y="1245"/>
                    <a:pt x="854" y="1156"/>
                    <a:pt x="938" y="1051"/>
                  </a:cubicBezTo>
                  <a:cubicBezTo>
                    <a:pt x="1020" y="948"/>
                    <a:pt x="1084" y="831"/>
                    <a:pt x="1106" y="731"/>
                  </a:cubicBezTo>
                  <a:cubicBezTo>
                    <a:pt x="1113" y="696"/>
                    <a:pt x="1089" y="661"/>
                    <a:pt x="1059" y="645"/>
                  </a:cubicBezTo>
                  <a:cubicBezTo>
                    <a:pt x="1001" y="613"/>
                    <a:pt x="1001" y="613"/>
                    <a:pt x="1001" y="613"/>
                  </a:cubicBezTo>
                  <a:cubicBezTo>
                    <a:pt x="942" y="580"/>
                    <a:pt x="888" y="499"/>
                    <a:pt x="924" y="432"/>
                  </a:cubicBezTo>
                  <a:cubicBezTo>
                    <a:pt x="1114" y="81"/>
                    <a:pt x="1114" y="81"/>
                    <a:pt x="1114" y="81"/>
                  </a:cubicBezTo>
                  <a:cubicBezTo>
                    <a:pt x="1150" y="16"/>
                    <a:pt x="1224" y="0"/>
                    <a:pt x="1287" y="35"/>
                  </a:cubicBezTo>
                  <a:cubicBezTo>
                    <a:pt x="1350" y="69"/>
                    <a:pt x="1350" y="69"/>
                    <a:pt x="1350" y="69"/>
                  </a:cubicBezTo>
                  <a:cubicBezTo>
                    <a:pt x="1415" y="105"/>
                    <a:pt x="1479" y="165"/>
                    <a:pt x="1527" y="235"/>
                  </a:cubicBezTo>
                  <a:cubicBezTo>
                    <a:pt x="1593" y="332"/>
                    <a:pt x="1624" y="442"/>
                    <a:pt x="1583" y="555"/>
                  </a:cubicBezTo>
                  <a:cubicBezTo>
                    <a:pt x="1500" y="781"/>
                    <a:pt x="1351" y="1030"/>
                    <a:pt x="1172" y="1253"/>
                  </a:cubicBezTo>
                  <a:cubicBezTo>
                    <a:pt x="994" y="1477"/>
                    <a:pt x="786" y="1676"/>
                    <a:pt x="586" y="1803"/>
                  </a:cubicBezTo>
                  <a:cubicBezTo>
                    <a:pt x="486" y="1867"/>
                    <a:pt x="375" y="1856"/>
                    <a:pt x="269" y="1807"/>
                  </a:cubicBezTo>
                  <a:cubicBezTo>
                    <a:pt x="157" y="1755"/>
                    <a:pt x="106" y="1695"/>
                    <a:pt x="33" y="1602"/>
                  </a:cubicBezTo>
                  <a:cubicBezTo>
                    <a:pt x="11" y="1573"/>
                    <a:pt x="0" y="1540"/>
                    <a:pt x="2" y="1508"/>
                  </a:cubicBezTo>
                  <a:cubicBezTo>
                    <a:pt x="4" y="1475"/>
                    <a:pt x="18" y="1444"/>
                    <a:pt x="45" y="1421"/>
                  </a:cubicBezTo>
                  <a:cubicBezTo>
                    <a:pt x="70" y="1399"/>
                    <a:pt x="346" y="1158"/>
                    <a:pt x="346" y="1158"/>
                  </a:cubicBezTo>
                  <a:cubicBezTo>
                    <a:pt x="376" y="1134"/>
                    <a:pt x="413" y="1133"/>
                    <a:pt x="448" y="1145"/>
                  </a:cubicBezTo>
                  <a:cubicBezTo>
                    <a:pt x="510" y="1166"/>
                    <a:pt x="536" y="1210"/>
                    <a:pt x="573" y="12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</p:grpSp>
      <p:grpSp>
        <p:nvGrpSpPr>
          <p:cNvPr id="11" name="Group 3">
            <a:extLst>
              <a:ext uri="{FF2B5EF4-FFF2-40B4-BE49-F238E27FC236}">
                <a16:creationId xmlns:a16="http://schemas.microsoft.com/office/drawing/2014/main" id="{DED6A25A-5DE2-1441-8BA2-C68D3B4F9209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4451002" y="3169087"/>
            <a:ext cx="171180" cy="171180"/>
            <a:chOff x="328396" y="5313940"/>
            <a:chExt cx="720000" cy="720000"/>
          </a:xfrm>
        </p:grpSpPr>
        <p:sp>
          <p:nvSpPr>
            <p:cNvPr id="12" name="Rectangle 4">
              <a:extLst>
                <a:ext uri="{FF2B5EF4-FFF2-40B4-BE49-F238E27FC236}">
                  <a16:creationId xmlns:a16="http://schemas.microsoft.com/office/drawing/2014/main" id="{5F49E67F-D4FA-9D48-96BC-59AE946ECD15}"/>
                </a:ext>
              </a:extLst>
            </p:cNvPr>
            <p:cNvSpPr/>
            <p:nvPr/>
          </p:nvSpPr>
          <p:spPr bwMode="gray">
            <a:xfrm>
              <a:off x="328396" y="5313940"/>
              <a:ext cx="720000" cy="720000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Freeform 76">
              <a:extLst>
                <a:ext uri="{FF2B5EF4-FFF2-40B4-BE49-F238E27FC236}">
                  <a16:creationId xmlns:a16="http://schemas.microsoft.com/office/drawing/2014/main" id="{187E70E6-AF3F-2549-908E-DF4BA61040A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56202" y="5509222"/>
              <a:ext cx="504000" cy="329436"/>
            </a:xfrm>
            <a:custGeom>
              <a:avLst/>
              <a:gdLst>
                <a:gd name="T0" fmla="*/ 0 w 2080"/>
                <a:gd name="T1" fmla="*/ 65 h 1360"/>
                <a:gd name="T2" fmla="*/ 0 w 2080"/>
                <a:gd name="T3" fmla="*/ 0 h 1360"/>
                <a:gd name="T4" fmla="*/ 2080 w 2080"/>
                <a:gd name="T5" fmla="*/ 0 h 1360"/>
                <a:gd name="T6" fmla="*/ 2080 w 2080"/>
                <a:gd name="T7" fmla="*/ 65 h 1360"/>
                <a:gd name="T8" fmla="*/ 1089 w 2080"/>
                <a:gd name="T9" fmla="*/ 862 h 1360"/>
                <a:gd name="T10" fmla="*/ 991 w 2080"/>
                <a:gd name="T11" fmla="*/ 862 h 1360"/>
                <a:gd name="T12" fmla="*/ 0 w 2080"/>
                <a:gd name="T13" fmla="*/ 65 h 1360"/>
                <a:gd name="T14" fmla="*/ 1139 w 2080"/>
                <a:gd name="T15" fmla="*/ 924 h 1360"/>
                <a:gd name="T16" fmla="*/ 1282 w 2080"/>
                <a:gd name="T17" fmla="*/ 810 h 1360"/>
                <a:gd name="T18" fmla="*/ 2076 w 2080"/>
                <a:gd name="T19" fmla="*/ 1360 h 1360"/>
                <a:gd name="T20" fmla="*/ 4 w 2080"/>
                <a:gd name="T21" fmla="*/ 1360 h 1360"/>
                <a:gd name="T22" fmla="*/ 798 w 2080"/>
                <a:gd name="T23" fmla="*/ 810 h 1360"/>
                <a:gd name="T24" fmla="*/ 941 w 2080"/>
                <a:gd name="T25" fmla="*/ 924 h 1360"/>
                <a:gd name="T26" fmla="*/ 1139 w 2080"/>
                <a:gd name="T27" fmla="*/ 924 h 1360"/>
                <a:gd name="T28" fmla="*/ 2 w 2080"/>
                <a:gd name="T29" fmla="*/ 137 h 1360"/>
                <a:gd name="T30" fmla="*/ 42 w 2080"/>
                <a:gd name="T31" fmla="*/ 201 h 1360"/>
                <a:gd name="T32" fmla="*/ 734 w 2080"/>
                <a:gd name="T33" fmla="*/ 758 h 1360"/>
                <a:gd name="T34" fmla="*/ 0 w 2080"/>
                <a:gd name="T35" fmla="*/ 1266 h 1360"/>
                <a:gd name="T36" fmla="*/ 0 w 2080"/>
                <a:gd name="T37" fmla="*/ 135 h 1360"/>
                <a:gd name="T38" fmla="*/ 2 w 2080"/>
                <a:gd name="T39" fmla="*/ 137 h 1360"/>
                <a:gd name="T40" fmla="*/ 2080 w 2080"/>
                <a:gd name="T41" fmla="*/ 136 h 1360"/>
                <a:gd name="T42" fmla="*/ 2080 w 2080"/>
                <a:gd name="T43" fmla="*/ 1265 h 1360"/>
                <a:gd name="T44" fmla="*/ 1346 w 2080"/>
                <a:gd name="T45" fmla="*/ 758 h 1360"/>
                <a:gd name="T46" fmla="*/ 2038 w 2080"/>
                <a:gd name="T47" fmla="*/ 201 h 1360"/>
                <a:gd name="T48" fmla="*/ 2080 w 2080"/>
                <a:gd name="T49" fmla="*/ 136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80" h="1360">
                  <a:moveTo>
                    <a:pt x="0" y="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80" y="0"/>
                    <a:pt x="2080" y="0"/>
                    <a:pt x="2080" y="0"/>
                  </a:cubicBezTo>
                  <a:cubicBezTo>
                    <a:pt x="2080" y="65"/>
                    <a:pt x="2080" y="65"/>
                    <a:pt x="2080" y="65"/>
                  </a:cubicBezTo>
                  <a:cubicBezTo>
                    <a:pt x="1089" y="862"/>
                    <a:pt x="1089" y="862"/>
                    <a:pt x="1089" y="862"/>
                  </a:cubicBezTo>
                  <a:cubicBezTo>
                    <a:pt x="1060" y="886"/>
                    <a:pt x="1020" y="886"/>
                    <a:pt x="991" y="862"/>
                  </a:cubicBezTo>
                  <a:lnTo>
                    <a:pt x="0" y="65"/>
                  </a:lnTo>
                  <a:close/>
                  <a:moveTo>
                    <a:pt x="1139" y="924"/>
                  </a:moveTo>
                  <a:cubicBezTo>
                    <a:pt x="1282" y="810"/>
                    <a:pt x="1282" y="810"/>
                    <a:pt x="1282" y="810"/>
                  </a:cubicBezTo>
                  <a:cubicBezTo>
                    <a:pt x="2076" y="1360"/>
                    <a:pt x="2076" y="1360"/>
                    <a:pt x="2076" y="1360"/>
                  </a:cubicBezTo>
                  <a:cubicBezTo>
                    <a:pt x="4" y="1360"/>
                    <a:pt x="4" y="1360"/>
                    <a:pt x="4" y="1360"/>
                  </a:cubicBezTo>
                  <a:cubicBezTo>
                    <a:pt x="798" y="810"/>
                    <a:pt x="798" y="810"/>
                    <a:pt x="798" y="810"/>
                  </a:cubicBezTo>
                  <a:cubicBezTo>
                    <a:pt x="941" y="924"/>
                    <a:pt x="941" y="924"/>
                    <a:pt x="941" y="924"/>
                  </a:cubicBezTo>
                  <a:cubicBezTo>
                    <a:pt x="1000" y="972"/>
                    <a:pt x="1080" y="972"/>
                    <a:pt x="1139" y="924"/>
                  </a:cubicBezTo>
                  <a:close/>
                  <a:moveTo>
                    <a:pt x="2" y="137"/>
                  </a:moveTo>
                  <a:cubicBezTo>
                    <a:pt x="8" y="163"/>
                    <a:pt x="22" y="185"/>
                    <a:pt x="42" y="201"/>
                  </a:cubicBezTo>
                  <a:cubicBezTo>
                    <a:pt x="734" y="758"/>
                    <a:pt x="734" y="758"/>
                    <a:pt x="734" y="758"/>
                  </a:cubicBezTo>
                  <a:cubicBezTo>
                    <a:pt x="0" y="1266"/>
                    <a:pt x="0" y="1266"/>
                    <a:pt x="0" y="1266"/>
                  </a:cubicBezTo>
                  <a:cubicBezTo>
                    <a:pt x="0" y="135"/>
                    <a:pt x="0" y="135"/>
                    <a:pt x="0" y="135"/>
                  </a:cubicBezTo>
                  <a:lnTo>
                    <a:pt x="2" y="137"/>
                  </a:lnTo>
                  <a:close/>
                  <a:moveTo>
                    <a:pt x="2080" y="136"/>
                  </a:moveTo>
                  <a:cubicBezTo>
                    <a:pt x="2080" y="1265"/>
                    <a:pt x="2080" y="1265"/>
                    <a:pt x="2080" y="1265"/>
                  </a:cubicBezTo>
                  <a:cubicBezTo>
                    <a:pt x="1346" y="758"/>
                    <a:pt x="1346" y="758"/>
                    <a:pt x="1346" y="758"/>
                  </a:cubicBezTo>
                  <a:cubicBezTo>
                    <a:pt x="2038" y="201"/>
                    <a:pt x="2038" y="201"/>
                    <a:pt x="2038" y="201"/>
                  </a:cubicBezTo>
                  <a:cubicBezTo>
                    <a:pt x="2060" y="182"/>
                    <a:pt x="2072" y="162"/>
                    <a:pt x="2080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</p:grpSp>
      <p:cxnSp>
        <p:nvCxnSpPr>
          <p:cNvPr id="20" name="Straight Connector 19"/>
          <p:cNvCxnSpPr/>
          <p:nvPr/>
        </p:nvCxnSpPr>
        <p:spPr>
          <a:xfrm>
            <a:off x="4451001" y="3494093"/>
            <a:ext cx="246319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451001" y="1824401"/>
            <a:ext cx="2463190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4451001" y="2036217"/>
            <a:ext cx="2463190" cy="266182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Name, Surname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451001" y="2332792"/>
            <a:ext cx="2463190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Job Position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695884" y="2861468"/>
            <a:ext cx="2218307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Phone number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695884" y="3144275"/>
            <a:ext cx="2218307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24" hasCustomPrompt="1"/>
          </p:nvPr>
        </p:nvSpPr>
        <p:spPr>
          <a:xfrm>
            <a:off x="4492626" y="3681413"/>
            <a:ext cx="4492594" cy="2087562"/>
          </a:xfrm>
        </p:spPr>
        <p:txBody>
          <a:bodyPr/>
          <a:lstStyle>
            <a:lvl1pPr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Additional information (if needed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68443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20"/>
          <p:cNvSpPr>
            <a:spLocks noGrp="1"/>
          </p:cNvSpPr>
          <p:nvPr>
            <p:ph type="dt" sz="half" idx="14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/>
          <a:p>
            <a:fld id="{3F4603FF-FCF6-4AE0-9349-4AF38C1FF5B2}" type="datetime5">
              <a:rPr lang="en-US" smtClean="0"/>
              <a:t>18-Nov-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5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F3E29E4-0979-4FCA-B4C5-5FC6044C982A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contact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1075061" y="964671"/>
            <a:ext cx="7910158" cy="490042"/>
          </a:xfrm>
        </p:spPr>
        <p:txBody>
          <a:bodyPr wrap="none"/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grpSp>
        <p:nvGrpSpPr>
          <p:cNvPr id="8" name="Gruppieren 80">
            <a:extLst>
              <a:ext uri="{FF2B5EF4-FFF2-40B4-BE49-F238E27FC236}">
                <a16:creationId xmlns:a16="http://schemas.microsoft.com/office/drawing/2014/main" id="{6B969E7B-9C39-4443-9B02-74C1E7C5CCAC}"/>
              </a:ext>
            </a:extLst>
          </p:cNvPr>
          <p:cNvGrpSpPr/>
          <p:nvPr/>
        </p:nvGrpSpPr>
        <p:grpSpPr>
          <a:xfrm>
            <a:off x="3770065" y="2868319"/>
            <a:ext cx="171180" cy="171180"/>
            <a:chOff x="3392092" y="1841122"/>
            <a:chExt cx="646508" cy="646508"/>
          </a:xfrm>
        </p:grpSpPr>
        <p:sp>
          <p:nvSpPr>
            <p:cNvPr id="9" name="Rechteck 14">
              <a:extLst>
                <a:ext uri="{FF2B5EF4-FFF2-40B4-BE49-F238E27FC236}">
                  <a16:creationId xmlns:a16="http://schemas.microsoft.com/office/drawing/2014/main" id="{D78F58EA-5525-8D43-8295-FEA52ECF6BF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392092" y="1841122"/>
              <a:ext cx="646508" cy="646508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Freeform 67">
              <a:extLst>
                <a:ext uri="{FF2B5EF4-FFF2-40B4-BE49-F238E27FC236}">
                  <a16:creationId xmlns:a16="http://schemas.microsoft.com/office/drawing/2014/main" id="{D01A6292-2776-4945-B828-483D79DC490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46638" y="1970424"/>
              <a:ext cx="337415" cy="387905"/>
            </a:xfrm>
            <a:custGeom>
              <a:avLst/>
              <a:gdLst>
                <a:gd name="T0" fmla="*/ 573 w 1624"/>
                <a:gd name="T1" fmla="*/ 1257 h 1867"/>
                <a:gd name="T2" fmla="*/ 662 w 1624"/>
                <a:gd name="T3" fmla="*/ 1288 h 1867"/>
                <a:gd name="T4" fmla="*/ 938 w 1624"/>
                <a:gd name="T5" fmla="*/ 1051 h 1867"/>
                <a:gd name="T6" fmla="*/ 1106 w 1624"/>
                <a:gd name="T7" fmla="*/ 731 h 1867"/>
                <a:gd name="T8" fmla="*/ 1059 w 1624"/>
                <a:gd name="T9" fmla="*/ 645 h 1867"/>
                <a:gd name="T10" fmla="*/ 1001 w 1624"/>
                <a:gd name="T11" fmla="*/ 613 h 1867"/>
                <a:gd name="T12" fmla="*/ 924 w 1624"/>
                <a:gd name="T13" fmla="*/ 432 h 1867"/>
                <a:gd name="T14" fmla="*/ 1114 w 1624"/>
                <a:gd name="T15" fmla="*/ 81 h 1867"/>
                <a:gd name="T16" fmla="*/ 1287 w 1624"/>
                <a:gd name="T17" fmla="*/ 35 h 1867"/>
                <a:gd name="T18" fmla="*/ 1350 w 1624"/>
                <a:gd name="T19" fmla="*/ 69 h 1867"/>
                <a:gd name="T20" fmla="*/ 1527 w 1624"/>
                <a:gd name="T21" fmla="*/ 235 h 1867"/>
                <a:gd name="T22" fmla="*/ 1583 w 1624"/>
                <a:gd name="T23" fmla="*/ 555 h 1867"/>
                <a:gd name="T24" fmla="*/ 1172 w 1624"/>
                <a:gd name="T25" fmla="*/ 1253 h 1867"/>
                <a:gd name="T26" fmla="*/ 586 w 1624"/>
                <a:gd name="T27" fmla="*/ 1803 h 1867"/>
                <a:gd name="T28" fmla="*/ 269 w 1624"/>
                <a:gd name="T29" fmla="*/ 1807 h 1867"/>
                <a:gd name="T30" fmla="*/ 33 w 1624"/>
                <a:gd name="T31" fmla="*/ 1602 h 1867"/>
                <a:gd name="T32" fmla="*/ 2 w 1624"/>
                <a:gd name="T33" fmla="*/ 1508 h 1867"/>
                <a:gd name="T34" fmla="*/ 45 w 1624"/>
                <a:gd name="T35" fmla="*/ 1421 h 1867"/>
                <a:gd name="T36" fmla="*/ 346 w 1624"/>
                <a:gd name="T37" fmla="*/ 1158 h 1867"/>
                <a:gd name="T38" fmla="*/ 448 w 1624"/>
                <a:gd name="T39" fmla="*/ 1145 h 1867"/>
                <a:gd name="T40" fmla="*/ 573 w 1624"/>
                <a:gd name="T41" fmla="*/ 1257 h 1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4" h="1867">
                  <a:moveTo>
                    <a:pt x="573" y="1257"/>
                  </a:moveTo>
                  <a:cubicBezTo>
                    <a:pt x="592" y="1282"/>
                    <a:pt x="630" y="1303"/>
                    <a:pt x="662" y="1288"/>
                  </a:cubicBezTo>
                  <a:cubicBezTo>
                    <a:pt x="753" y="1245"/>
                    <a:pt x="854" y="1156"/>
                    <a:pt x="938" y="1051"/>
                  </a:cubicBezTo>
                  <a:cubicBezTo>
                    <a:pt x="1020" y="948"/>
                    <a:pt x="1084" y="831"/>
                    <a:pt x="1106" y="731"/>
                  </a:cubicBezTo>
                  <a:cubicBezTo>
                    <a:pt x="1113" y="696"/>
                    <a:pt x="1089" y="661"/>
                    <a:pt x="1059" y="645"/>
                  </a:cubicBezTo>
                  <a:cubicBezTo>
                    <a:pt x="1001" y="613"/>
                    <a:pt x="1001" y="613"/>
                    <a:pt x="1001" y="613"/>
                  </a:cubicBezTo>
                  <a:cubicBezTo>
                    <a:pt x="942" y="580"/>
                    <a:pt x="888" y="499"/>
                    <a:pt x="924" y="432"/>
                  </a:cubicBezTo>
                  <a:cubicBezTo>
                    <a:pt x="1114" y="81"/>
                    <a:pt x="1114" y="81"/>
                    <a:pt x="1114" y="81"/>
                  </a:cubicBezTo>
                  <a:cubicBezTo>
                    <a:pt x="1150" y="16"/>
                    <a:pt x="1224" y="0"/>
                    <a:pt x="1287" y="35"/>
                  </a:cubicBezTo>
                  <a:cubicBezTo>
                    <a:pt x="1350" y="69"/>
                    <a:pt x="1350" y="69"/>
                    <a:pt x="1350" y="69"/>
                  </a:cubicBezTo>
                  <a:cubicBezTo>
                    <a:pt x="1415" y="105"/>
                    <a:pt x="1479" y="165"/>
                    <a:pt x="1527" y="235"/>
                  </a:cubicBezTo>
                  <a:cubicBezTo>
                    <a:pt x="1593" y="332"/>
                    <a:pt x="1624" y="442"/>
                    <a:pt x="1583" y="555"/>
                  </a:cubicBezTo>
                  <a:cubicBezTo>
                    <a:pt x="1500" y="781"/>
                    <a:pt x="1351" y="1030"/>
                    <a:pt x="1172" y="1253"/>
                  </a:cubicBezTo>
                  <a:cubicBezTo>
                    <a:pt x="994" y="1477"/>
                    <a:pt x="786" y="1676"/>
                    <a:pt x="586" y="1803"/>
                  </a:cubicBezTo>
                  <a:cubicBezTo>
                    <a:pt x="486" y="1867"/>
                    <a:pt x="375" y="1856"/>
                    <a:pt x="269" y="1807"/>
                  </a:cubicBezTo>
                  <a:cubicBezTo>
                    <a:pt x="157" y="1755"/>
                    <a:pt x="106" y="1695"/>
                    <a:pt x="33" y="1602"/>
                  </a:cubicBezTo>
                  <a:cubicBezTo>
                    <a:pt x="11" y="1573"/>
                    <a:pt x="0" y="1540"/>
                    <a:pt x="2" y="1508"/>
                  </a:cubicBezTo>
                  <a:cubicBezTo>
                    <a:pt x="4" y="1475"/>
                    <a:pt x="18" y="1444"/>
                    <a:pt x="45" y="1421"/>
                  </a:cubicBezTo>
                  <a:cubicBezTo>
                    <a:pt x="70" y="1399"/>
                    <a:pt x="346" y="1158"/>
                    <a:pt x="346" y="1158"/>
                  </a:cubicBezTo>
                  <a:cubicBezTo>
                    <a:pt x="376" y="1134"/>
                    <a:pt x="413" y="1133"/>
                    <a:pt x="448" y="1145"/>
                  </a:cubicBezTo>
                  <a:cubicBezTo>
                    <a:pt x="510" y="1166"/>
                    <a:pt x="536" y="1210"/>
                    <a:pt x="573" y="12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</p:grpSp>
      <p:grpSp>
        <p:nvGrpSpPr>
          <p:cNvPr id="11" name="Group 3">
            <a:extLst>
              <a:ext uri="{FF2B5EF4-FFF2-40B4-BE49-F238E27FC236}">
                <a16:creationId xmlns:a16="http://schemas.microsoft.com/office/drawing/2014/main" id="{DED6A25A-5DE2-1441-8BA2-C68D3B4F9209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770066" y="3153207"/>
            <a:ext cx="171180" cy="171180"/>
            <a:chOff x="328396" y="5313940"/>
            <a:chExt cx="720000" cy="720000"/>
          </a:xfrm>
        </p:grpSpPr>
        <p:sp>
          <p:nvSpPr>
            <p:cNvPr id="12" name="Rectangle 4">
              <a:extLst>
                <a:ext uri="{FF2B5EF4-FFF2-40B4-BE49-F238E27FC236}">
                  <a16:creationId xmlns:a16="http://schemas.microsoft.com/office/drawing/2014/main" id="{5F49E67F-D4FA-9D48-96BC-59AE946ECD15}"/>
                </a:ext>
              </a:extLst>
            </p:cNvPr>
            <p:cNvSpPr/>
            <p:nvPr/>
          </p:nvSpPr>
          <p:spPr bwMode="gray">
            <a:xfrm>
              <a:off x="328396" y="5313940"/>
              <a:ext cx="720000" cy="720000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Freeform 76">
              <a:extLst>
                <a:ext uri="{FF2B5EF4-FFF2-40B4-BE49-F238E27FC236}">
                  <a16:creationId xmlns:a16="http://schemas.microsoft.com/office/drawing/2014/main" id="{187E70E6-AF3F-2549-908E-DF4BA61040A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56202" y="5509222"/>
              <a:ext cx="504000" cy="329436"/>
            </a:xfrm>
            <a:custGeom>
              <a:avLst/>
              <a:gdLst>
                <a:gd name="T0" fmla="*/ 0 w 2080"/>
                <a:gd name="T1" fmla="*/ 65 h 1360"/>
                <a:gd name="T2" fmla="*/ 0 w 2080"/>
                <a:gd name="T3" fmla="*/ 0 h 1360"/>
                <a:gd name="T4" fmla="*/ 2080 w 2080"/>
                <a:gd name="T5" fmla="*/ 0 h 1360"/>
                <a:gd name="T6" fmla="*/ 2080 w 2080"/>
                <a:gd name="T7" fmla="*/ 65 h 1360"/>
                <a:gd name="T8" fmla="*/ 1089 w 2080"/>
                <a:gd name="T9" fmla="*/ 862 h 1360"/>
                <a:gd name="T10" fmla="*/ 991 w 2080"/>
                <a:gd name="T11" fmla="*/ 862 h 1360"/>
                <a:gd name="T12" fmla="*/ 0 w 2080"/>
                <a:gd name="T13" fmla="*/ 65 h 1360"/>
                <a:gd name="T14" fmla="*/ 1139 w 2080"/>
                <a:gd name="T15" fmla="*/ 924 h 1360"/>
                <a:gd name="T16" fmla="*/ 1282 w 2080"/>
                <a:gd name="T17" fmla="*/ 810 h 1360"/>
                <a:gd name="T18" fmla="*/ 2076 w 2080"/>
                <a:gd name="T19" fmla="*/ 1360 h 1360"/>
                <a:gd name="T20" fmla="*/ 4 w 2080"/>
                <a:gd name="T21" fmla="*/ 1360 h 1360"/>
                <a:gd name="T22" fmla="*/ 798 w 2080"/>
                <a:gd name="T23" fmla="*/ 810 h 1360"/>
                <a:gd name="T24" fmla="*/ 941 w 2080"/>
                <a:gd name="T25" fmla="*/ 924 h 1360"/>
                <a:gd name="T26" fmla="*/ 1139 w 2080"/>
                <a:gd name="T27" fmla="*/ 924 h 1360"/>
                <a:gd name="T28" fmla="*/ 2 w 2080"/>
                <a:gd name="T29" fmla="*/ 137 h 1360"/>
                <a:gd name="T30" fmla="*/ 42 w 2080"/>
                <a:gd name="T31" fmla="*/ 201 h 1360"/>
                <a:gd name="T32" fmla="*/ 734 w 2080"/>
                <a:gd name="T33" fmla="*/ 758 h 1360"/>
                <a:gd name="T34" fmla="*/ 0 w 2080"/>
                <a:gd name="T35" fmla="*/ 1266 h 1360"/>
                <a:gd name="T36" fmla="*/ 0 w 2080"/>
                <a:gd name="T37" fmla="*/ 135 h 1360"/>
                <a:gd name="T38" fmla="*/ 2 w 2080"/>
                <a:gd name="T39" fmla="*/ 137 h 1360"/>
                <a:gd name="T40" fmla="*/ 2080 w 2080"/>
                <a:gd name="T41" fmla="*/ 136 h 1360"/>
                <a:gd name="T42" fmla="*/ 2080 w 2080"/>
                <a:gd name="T43" fmla="*/ 1265 h 1360"/>
                <a:gd name="T44" fmla="*/ 1346 w 2080"/>
                <a:gd name="T45" fmla="*/ 758 h 1360"/>
                <a:gd name="T46" fmla="*/ 2038 w 2080"/>
                <a:gd name="T47" fmla="*/ 201 h 1360"/>
                <a:gd name="T48" fmla="*/ 2080 w 2080"/>
                <a:gd name="T49" fmla="*/ 136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80" h="1360">
                  <a:moveTo>
                    <a:pt x="0" y="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80" y="0"/>
                    <a:pt x="2080" y="0"/>
                    <a:pt x="2080" y="0"/>
                  </a:cubicBezTo>
                  <a:cubicBezTo>
                    <a:pt x="2080" y="65"/>
                    <a:pt x="2080" y="65"/>
                    <a:pt x="2080" y="65"/>
                  </a:cubicBezTo>
                  <a:cubicBezTo>
                    <a:pt x="1089" y="862"/>
                    <a:pt x="1089" y="862"/>
                    <a:pt x="1089" y="862"/>
                  </a:cubicBezTo>
                  <a:cubicBezTo>
                    <a:pt x="1060" y="886"/>
                    <a:pt x="1020" y="886"/>
                    <a:pt x="991" y="862"/>
                  </a:cubicBezTo>
                  <a:lnTo>
                    <a:pt x="0" y="65"/>
                  </a:lnTo>
                  <a:close/>
                  <a:moveTo>
                    <a:pt x="1139" y="924"/>
                  </a:moveTo>
                  <a:cubicBezTo>
                    <a:pt x="1282" y="810"/>
                    <a:pt x="1282" y="810"/>
                    <a:pt x="1282" y="810"/>
                  </a:cubicBezTo>
                  <a:cubicBezTo>
                    <a:pt x="2076" y="1360"/>
                    <a:pt x="2076" y="1360"/>
                    <a:pt x="2076" y="1360"/>
                  </a:cubicBezTo>
                  <a:cubicBezTo>
                    <a:pt x="4" y="1360"/>
                    <a:pt x="4" y="1360"/>
                    <a:pt x="4" y="1360"/>
                  </a:cubicBezTo>
                  <a:cubicBezTo>
                    <a:pt x="798" y="810"/>
                    <a:pt x="798" y="810"/>
                    <a:pt x="798" y="810"/>
                  </a:cubicBezTo>
                  <a:cubicBezTo>
                    <a:pt x="941" y="924"/>
                    <a:pt x="941" y="924"/>
                    <a:pt x="941" y="924"/>
                  </a:cubicBezTo>
                  <a:cubicBezTo>
                    <a:pt x="1000" y="972"/>
                    <a:pt x="1080" y="972"/>
                    <a:pt x="1139" y="924"/>
                  </a:cubicBezTo>
                  <a:close/>
                  <a:moveTo>
                    <a:pt x="2" y="137"/>
                  </a:moveTo>
                  <a:cubicBezTo>
                    <a:pt x="8" y="163"/>
                    <a:pt x="22" y="185"/>
                    <a:pt x="42" y="201"/>
                  </a:cubicBezTo>
                  <a:cubicBezTo>
                    <a:pt x="734" y="758"/>
                    <a:pt x="734" y="758"/>
                    <a:pt x="734" y="758"/>
                  </a:cubicBezTo>
                  <a:cubicBezTo>
                    <a:pt x="0" y="1266"/>
                    <a:pt x="0" y="1266"/>
                    <a:pt x="0" y="1266"/>
                  </a:cubicBezTo>
                  <a:cubicBezTo>
                    <a:pt x="0" y="135"/>
                    <a:pt x="0" y="135"/>
                    <a:pt x="0" y="135"/>
                  </a:cubicBezTo>
                  <a:lnTo>
                    <a:pt x="2" y="137"/>
                  </a:lnTo>
                  <a:close/>
                  <a:moveTo>
                    <a:pt x="2080" y="136"/>
                  </a:moveTo>
                  <a:cubicBezTo>
                    <a:pt x="2080" y="1265"/>
                    <a:pt x="2080" y="1265"/>
                    <a:pt x="2080" y="1265"/>
                  </a:cubicBezTo>
                  <a:cubicBezTo>
                    <a:pt x="1346" y="758"/>
                    <a:pt x="1346" y="758"/>
                    <a:pt x="1346" y="758"/>
                  </a:cubicBezTo>
                  <a:cubicBezTo>
                    <a:pt x="2038" y="201"/>
                    <a:pt x="2038" y="201"/>
                    <a:pt x="2038" y="201"/>
                  </a:cubicBezTo>
                  <a:cubicBezTo>
                    <a:pt x="2060" y="182"/>
                    <a:pt x="2072" y="162"/>
                    <a:pt x="2080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</p:grpSp>
      <p:grpSp>
        <p:nvGrpSpPr>
          <p:cNvPr id="14" name="Gruppieren 2">
            <a:extLst>
              <a:ext uri="{FF2B5EF4-FFF2-40B4-BE49-F238E27FC236}">
                <a16:creationId xmlns:a16="http://schemas.microsoft.com/office/drawing/2014/main" id="{BE697CE9-EBDE-6B4A-BE70-582D92A8A831}"/>
              </a:ext>
            </a:extLst>
          </p:cNvPr>
          <p:cNvGrpSpPr/>
          <p:nvPr/>
        </p:nvGrpSpPr>
        <p:grpSpPr>
          <a:xfrm>
            <a:off x="8701917" y="2868319"/>
            <a:ext cx="171180" cy="171180"/>
            <a:chOff x="3392092" y="1841122"/>
            <a:chExt cx="646508" cy="646508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E142A731-19B7-C34D-9534-9E05108F895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392092" y="1841122"/>
              <a:ext cx="646508" cy="646508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F97E84AE-4AD9-4B44-9AA1-F797FC37380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46638" y="1970424"/>
              <a:ext cx="337415" cy="387905"/>
            </a:xfrm>
            <a:custGeom>
              <a:avLst/>
              <a:gdLst>
                <a:gd name="T0" fmla="*/ 573 w 1624"/>
                <a:gd name="T1" fmla="*/ 1257 h 1867"/>
                <a:gd name="T2" fmla="*/ 662 w 1624"/>
                <a:gd name="T3" fmla="*/ 1288 h 1867"/>
                <a:gd name="T4" fmla="*/ 938 w 1624"/>
                <a:gd name="T5" fmla="*/ 1051 h 1867"/>
                <a:gd name="T6" fmla="*/ 1106 w 1624"/>
                <a:gd name="T7" fmla="*/ 731 h 1867"/>
                <a:gd name="T8" fmla="*/ 1059 w 1624"/>
                <a:gd name="T9" fmla="*/ 645 h 1867"/>
                <a:gd name="T10" fmla="*/ 1001 w 1624"/>
                <a:gd name="T11" fmla="*/ 613 h 1867"/>
                <a:gd name="T12" fmla="*/ 924 w 1624"/>
                <a:gd name="T13" fmla="*/ 432 h 1867"/>
                <a:gd name="T14" fmla="*/ 1114 w 1624"/>
                <a:gd name="T15" fmla="*/ 81 h 1867"/>
                <a:gd name="T16" fmla="*/ 1287 w 1624"/>
                <a:gd name="T17" fmla="*/ 35 h 1867"/>
                <a:gd name="T18" fmla="*/ 1350 w 1624"/>
                <a:gd name="T19" fmla="*/ 69 h 1867"/>
                <a:gd name="T20" fmla="*/ 1527 w 1624"/>
                <a:gd name="T21" fmla="*/ 235 h 1867"/>
                <a:gd name="T22" fmla="*/ 1583 w 1624"/>
                <a:gd name="T23" fmla="*/ 555 h 1867"/>
                <a:gd name="T24" fmla="*/ 1172 w 1624"/>
                <a:gd name="T25" fmla="*/ 1253 h 1867"/>
                <a:gd name="T26" fmla="*/ 586 w 1624"/>
                <a:gd name="T27" fmla="*/ 1803 h 1867"/>
                <a:gd name="T28" fmla="*/ 269 w 1624"/>
                <a:gd name="T29" fmla="*/ 1807 h 1867"/>
                <a:gd name="T30" fmla="*/ 33 w 1624"/>
                <a:gd name="T31" fmla="*/ 1602 h 1867"/>
                <a:gd name="T32" fmla="*/ 2 w 1624"/>
                <a:gd name="T33" fmla="*/ 1508 h 1867"/>
                <a:gd name="T34" fmla="*/ 45 w 1624"/>
                <a:gd name="T35" fmla="*/ 1421 h 1867"/>
                <a:gd name="T36" fmla="*/ 346 w 1624"/>
                <a:gd name="T37" fmla="*/ 1158 h 1867"/>
                <a:gd name="T38" fmla="*/ 448 w 1624"/>
                <a:gd name="T39" fmla="*/ 1145 h 1867"/>
                <a:gd name="T40" fmla="*/ 573 w 1624"/>
                <a:gd name="T41" fmla="*/ 1257 h 1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4" h="1867">
                  <a:moveTo>
                    <a:pt x="573" y="1257"/>
                  </a:moveTo>
                  <a:cubicBezTo>
                    <a:pt x="592" y="1282"/>
                    <a:pt x="630" y="1303"/>
                    <a:pt x="662" y="1288"/>
                  </a:cubicBezTo>
                  <a:cubicBezTo>
                    <a:pt x="753" y="1245"/>
                    <a:pt x="854" y="1156"/>
                    <a:pt x="938" y="1051"/>
                  </a:cubicBezTo>
                  <a:cubicBezTo>
                    <a:pt x="1020" y="948"/>
                    <a:pt x="1084" y="831"/>
                    <a:pt x="1106" y="731"/>
                  </a:cubicBezTo>
                  <a:cubicBezTo>
                    <a:pt x="1113" y="696"/>
                    <a:pt x="1089" y="661"/>
                    <a:pt x="1059" y="645"/>
                  </a:cubicBezTo>
                  <a:cubicBezTo>
                    <a:pt x="1001" y="613"/>
                    <a:pt x="1001" y="613"/>
                    <a:pt x="1001" y="613"/>
                  </a:cubicBezTo>
                  <a:cubicBezTo>
                    <a:pt x="942" y="580"/>
                    <a:pt x="888" y="499"/>
                    <a:pt x="924" y="432"/>
                  </a:cubicBezTo>
                  <a:cubicBezTo>
                    <a:pt x="1114" y="81"/>
                    <a:pt x="1114" y="81"/>
                    <a:pt x="1114" y="81"/>
                  </a:cubicBezTo>
                  <a:cubicBezTo>
                    <a:pt x="1150" y="16"/>
                    <a:pt x="1224" y="0"/>
                    <a:pt x="1287" y="35"/>
                  </a:cubicBezTo>
                  <a:cubicBezTo>
                    <a:pt x="1350" y="69"/>
                    <a:pt x="1350" y="69"/>
                    <a:pt x="1350" y="69"/>
                  </a:cubicBezTo>
                  <a:cubicBezTo>
                    <a:pt x="1415" y="105"/>
                    <a:pt x="1479" y="165"/>
                    <a:pt x="1527" y="235"/>
                  </a:cubicBezTo>
                  <a:cubicBezTo>
                    <a:pt x="1593" y="332"/>
                    <a:pt x="1624" y="442"/>
                    <a:pt x="1583" y="555"/>
                  </a:cubicBezTo>
                  <a:cubicBezTo>
                    <a:pt x="1500" y="781"/>
                    <a:pt x="1351" y="1030"/>
                    <a:pt x="1172" y="1253"/>
                  </a:cubicBezTo>
                  <a:cubicBezTo>
                    <a:pt x="994" y="1477"/>
                    <a:pt x="786" y="1676"/>
                    <a:pt x="586" y="1803"/>
                  </a:cubicBezTo>
                  <a:cubicBezTo>
                    <a:pt x="486" y="1867"/>
                    <a:pt x="375" y="1856"/>
                    <a:pt x="269" y="1807"/>
                  </a:cubicBezTo>
                  <a:cubicBezTo>
                    <a:pt x="157" y="1755"/>
                    <a:pt x="106" y="1695"/>
                    <a:pt x="33" y="1602"/>
                  </a:cubicBezTo>
                  <a:cubicBezTo>
                    <a:pt x="11" y="1573"/>
                    <a:pt x="0" y="1540"/>
                    <a:pt x="2" y="1508"/>
                  </a:cubicBezTo>
                  <a:cubicBezTo>
                    <a:pt x="4" y="1475"/>
                    <a:pt x="18" y="1444"/>
                    <a:pt x="45" y="1421"/>
                  </a:cubicBezTo>
                  <a:cubicBezTo>
                    <a:pt x="70" y="1399"/>
                    <a:pt x="346" y="1158"/>
                    <a:pt x="346" y="1158"/>
                  </a:cubicBezTo>
                  <a:cubicBezTo>
                    <a:pt x="376" y="1134"/>
                    <a:pt x="413" y="1133"/>
                    <a:pt x="448" y="1145"/>
                  </a:cubicBezTo>
                  <a:cubicBezTo>
                    <a:pt x="510" y="1166"/>
                    <a:pt x="536" y="1210"/>
                    <a:pt x="573" y="12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</p:grpSp>
      <p:grpSp>
        <p:nvGrpSpPr>
          <p:cNvPr id="17" name="Group 3">
            <a:extLst>
              <a:ext uri="{FF2B5EF4-FFF2-40B4-BE49-F238E27FC236}">
                <a16:creationId xmlns:a16="http://schemas.microsoft.com/office/drawing/2014/main" id="{7104BADD-8CD1-6F4A-B894-869C3BDB3EEB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701918" y="3153207"/>
            <a:ext cx="171180" cy="171180"/>
            <a:chOff x="328396" y="5313940"/>
            <a:chExt cx="720000" cy="720000"/>
          </a:xfrm>
        </p:grpSpPr>
        <p:sp>
          <p:nvSpPr>
            <p:cNvPr id="18" name="Rectangle 4">
              <a:extLst>
                <a:ext uri="{FF2B5EF4-FFF2-40B4-BE49-F238E27FC236}">
                  <a16:creationId xmlns:a16="http://schemas.microsoft.com/office/drawing/2014/main" id="{74BE3D5F-1445-6E40-8B49-72E15568383B}"/>
                </a:ext>
              </a:extLst>
            </p:cNvPr>
            <p:cNvSpPr/>
            <p:nvPr/>
          </p:nvSpPr>
          <p:spPr bwMode="gray">
            <a:xfrm>
              <a:off x="328396" y="5313940"/>
              <a:ext cx="720000" cy="720000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Freeform 76">
              <a:extLst>
                <a:ext uri="{FF2B5EF4-FFF2-40B4-BE49-F238E27FC236}">
                  <a16:creationId xmlns:a16="http://schemas.microsoft.com/office/drawing/2014/main" id="{55DB3C95-7D0C-D141-901E-96D692794D2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56202" y="5509222"/>
              <a:ext cx="504000" cy="329436"/>
            </a:xfrm>
            <a:custGeom>
              <a:avLst/>
              <a:gdLst>
                <a:gd name="T0" fmla="*/ 0 w 2080"/>
                <a:gd name="T1" fmla="*/ 65 h 1360"/>
                <a:gd name="T2" fmla="*/ 0 w 2080"/>
                <a:gd name="T3" fmla="*/ 0 h 1360"/>
                <a:gd name="T4" fmla="*/ 2080 w 2080"/>
                <a:gd name="T5" fmla="*/ 0 h 1360"/>
                <a:gd name="T6" fmla="*/ 2080 w 2080"/>
                <a:gd name="T7" fmla="*/ 65 h 1360"/>
                <a:gd name="T8" fmla="*/ 1089 w 2080"/>
                <a:gd name="T9" fmla="*/ 862 h 1360"/>
                <a:gd name="T10" fmla="*/ 991 w 2080"/>
                <a:gd name="T11" fmla="*/ 862 h 1360"/>
                <a:gd name="T12" fmla="*/ 0 w 2080"/>
                <a:gd name="T13" fmla="*/ 65 h 1360"/>
                <a:gd name="T14" fmla="*/ 1139 w 2080"/>
                <a:gd name="T15" fmla="*/ 924 h 1360"/>
                <a:gd name="T16" fmla="*/ 1282 w 2080"/>
                <a:gd name="T17" fmla="*/ 810 h 1360"/>
                <a:gd name="T18" fmla="*/ 2076 w 2080"/>
                <a:gd name="T19" fmla="*/ 1360 h 1360"/>
                <a:gd name="T20" fmla="*/ 4 w 2080"/>
                <a:gd name="T21" fmla="*/ 1360 h 1360"/>
                <a:gd name="T22" fmla="*/ 798 w 2080"/>
                <a:gd name="T23" fmla="*/ 810 h 1360"/>
                <a:gd name="T24" fmla="*/ 941 w 2080"/>
                <a:gd name="T25" fmla="*/ 924 h 1360"/>
                <a:gd name="T26" fmla="*/ 1139 w 2080"/>
                <a:gd name="T27" fmla="*/ 924 h 1360"/>
                <a:gd name="T28" fmla="*/ 2 w 2080"/>
                <a:gd name="T29" fmla="*/ 137 h 1360"/>
                <a:gd name="T30" fmla="*/ 42 w 2080"/>
                <a:gd name="T31" fmla="*/ 201 h 1360"/>
                <a:gd name="T32" fmla="*/ 734 w 2080"/>
                <a:gd name="T33" fmla="*/ 758 h 1360"/>
                <a:gd name="T34" fmla="*/ 0 w 2080"/>
                <a:gd name="T35" fmla="*/ 1266 h 1360"/>
                <a:gd name="T36" fmla="*/ 0 w 2080"/>
                <a:gd name="T37" fmla="*/ 135 h 1360"/>
                <a:gd name="T38" fmla="*/ 2 w 2080"/>
                <a:gd name="T39" fmla="*/ 137 h 1360"/>
                <a:gd name="T40" fmla="*/ 2080 w 2080"/>
                <a:gd name="T41" fmla="*/ 136 h 1360"/>
                <a:gd name="T42" fmla="*/ 2080 w 2080"/>
                <a:gd name="T43" fmla="*/ 1265 h 1360"/>
                <a:gd name="T44" fmla="*/ 1346 w 2080"/>
                <a:gd name="T45" fmla="*/ 758 h 1360"/>
                <a:gd name="T46" fmla="*/ 2038 w 2080"/>
                <a:gd name="T47" fmla="*/ 201 h 1360"/>
                <a:gd name="T48" fmla="*/ 2080 w 2080"/>
                <a:gd name="T49" fmla="*/ 136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80" h="1360">
                  <a:moveTo>
                    <a:pt x="0" y="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80" y="0"/>
                    <a:pt x="2080" y="0"/>
                    <a:pt x="2080" y="0"/>
                  </a:cubicBezTo>
                  <a:cubicBezTo>
                    <a:pt x="2080" y="65"/>
                    <a:pt x="2080" y="65"/>
                    <a:pt x="2080" y="65"/>
                  </a:cubicBezTo>
                  <a:cubicBezTo>
                    <a:pt x="1089" y="862"/>
                    <a:pt x="1089" y="862"/>
                    <a:pt x="1089" y="862"/>
                  </a:cubicBezTo>
                  <a:cubicBezTo>
                    <a:pt x="1060" y="886"/>
                    <a:pt x="1020" y="886"/>
                    <a:pt x="991" y="862"/>
                  </a:cubicBezTo>
                  <a:lnTo>
                    <a:pt x="0" y="65"/>
                  </a:lnTo>
                  <a:close/>
                  <a:moveTo>
                    <a:pt x="1139" y="924"/>
                  </a:moveTo>
                  <a:cubicBezTo>
                    <a:pt x="1282" y="810"/>
                    <a:pt x="1282" y="810"/>
                    <a:pt x="1282" y="810"/>
                  </a:cubicBezTo>
                  <a:cubicBezTo>
                    <a:pt x="2076" y="1360"/>
                    <a:pt x="2076" y="1360"/>
                    <a:pt x="2076" y="1360"/>
                  </a:cubicBezTo>
                  <a:cubicBezTo>
                    <a:pt x="4" y="1360"/>
                    <a:pt x="4" y="1360"/>
                    <a:pt x="4" y="1360"/>
                  </a:cubicBezTo>
                  <a:cubicBezTo>
                    <a:pt x="798" y="810"/>
                    <a:pt x="798" y="810"/>
                    <a:pt x="798" y="810"/>
                  </a:cubicBezTo>
                  <a:cubicBezTo>
                    <a:pt x="941" y="924"/>
                    <a:pt x="941" y="924"/>
                    <a:pt x="941" y="924"/>
                  </a:cubicBezTo>
                  <a:cubicBezTo>
                    <a:pt x="1000" y="972"/>
                    <a:pt x="1080" y="972"/>
                    <a:pt x="1139" y="924"/>
                  </a:cubicBezTo>
                  <a:close/>
                  <a:moveTo>
                    <a:pt x="2" y="137"/>
                  </a:moveTo>
                  <a:cubicBezTo>
                    <a:pt x="8" y="163"/>
                    <a:pt x="22" y="185"/>
                    <a:pt x="42" y="201"/>
                  </a:cubicBezTo>
                  <a:cubicBezTo>
                    <a:pt x="734" y="758"/>
                    <a:pt x="734" y="758"/>
                    <a:pt x="734" y="758"/>
                  </a:cubicBezTo>
                  <a:cubicBezTo>
                    <a:pt x="0" y="1266"/>
                    <a:pt x="0" y="1266"/>
                    <a:pt x="0" y="1266"/>
                  </a:cubicBezTo>
                  <a:cubicBezTo>
                    <a:pt x="0" y="135"/>
                    <a:pt x="0" y="135"/>
                    <a:pt x="0" y="135"/>
                  </a:cubicBezTo>
                  <a:lnTo>
                    <a:pt x="2" y="137"/>
                  </a:lnTo>
                  <a:close/>
                  <a:moveTo>
                    <a:pt x="2080" y="136"/>
                  </a:moveTo>
                  <a:cubicBezTo>
                    <a:pt x="2080" y="1265"/>
                    <a:pt x="2080" y="1265"/>
                    <a:pt x="2080" y="1265"/>
                  </a:cubicBezTo>
                  <a:cubicBezTo>
                    <a:pt x="1346" y="758"/>
                    <a:pt x="1346" y="758"/>
                    <a:pt x="1346" y="758"/>
                  </a:cubicBezTo>
                  <a:cubicBezTo>
                    <a:pt x="2038" y="201"/>
                    <a:pt x="2038" y="201"/>
                    <a:pt x="2038" y="201"/>
                  </a:cubicBezTo>
                  <a:cubicBezTo>
                    <a:pt x="2060" y="182"/>
                    <a:pt x="2072" y="162"/>
                    <a:pt x="2080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</p:grpSp>
      <p:cxnSp>
        <p:nvCxnSpPr>
          <p:cNvPr id="20" name="Straight Connector 19"/>
          <p:cNvCxnSpPr/>
          <p:nvPr/>
        </p:nvCxnSpPr>
        <p:spPr>
          <a:xfrm>
            <a:off x="2371725" y="3478213"/>
            <a:ext cx="388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7287766" y="3478213"/>
            <a:ext cx="388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2355914" y="1808984"/>
            <a:ext cx="1188677" cy="1547840"/>
          </a:xfr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7287766" y="1808984"/>
            <a:ext cx="1188677" cy="1547840"/>
          </a:xfr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770065" y="1808521"/>
            <a:ext cx="2463190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770065" y="2020337"/>
            <a:ext cx="2463190" cy="266182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Name, Surname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3770065" y="2316912"/>
            <a:ext cx="2463190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Job Position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014948" y="2845588"/>
            <a:ext cx="2218307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Phone number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014948" y="3128395"/>
            <a:ext cx="2218307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8701917" y="1808521"/>
            <a:ext cx="2463190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8701917" y="2020337"/>
            <a:ext cx="2463190" cy="266182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Name, Surname</a:t>
            </a:r>
          </a:p>
        </p:txBody>
      </p:sp>
      <p:sp>
        <p:nvSpPr>
          <p:cNvPr id="32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8701917" y="2316912"/>
            <a:ext cx="2463190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Job Position</a:t>
            </a:r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8946800" y="2845588"/>
            <a:ext cx="2218307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Phone number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8946800" y="3128395"/>
            <a:ext cx="2218307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Email address</a:t>
            </a:r>
          </a:p>
        </p:txBody>
      </p:sp>
    </p:spTree>
    <p:extLst>
      <p:ext uri="{BB962C8B-B14F-4D97-AF65-F5344CB8AC3E}">
        <p14:creationId xmlns:p14="http://schemas.microsoft.com/office/powerpoint/2010/main" val="36070711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20"/>
          <p:cNvSpPr>
            <a:spLocks noGrp="1"/>
          </p:cNvSpPr>
          <p:nvPr>
            <p:ph type="dt" sz="half" idx="14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/>
          <a:p>
            <a:fld id="{6580B400-49DF-489E-B82C-8D138BFCC234}" type="datetime5">
              <a:rPr lang="en-US" smtClean="0"/>
              <a:t>18-Nov-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5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F3E29E4-0979-4FCA-B4C5-5FC6044C982A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contact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1075061" y="964671"/>
            <a:ext cx="7910158" cy="490042"/>
          </a:xfrm>
        </p:spPr>
        <p:txBody>
          <a:bodyPr wrap="none"/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grpSp>
        <p:nvGrpSpPr>
          <p:cNvPr id="8" name="Gruppieren 80">
            <a:extLst>
              <a:ext uri="{FF2B5EF4-FFF2-40B4-BE49-F238E27FC236}">
                <a16:creationId xmlns:a16="http://schemas.microsoft.com/office/drawing/2014/main" id="{6B969E7B-9C39-4443-9B02-74C1E7C5CCAC}"/>
              </a:ext>
            </a:extLst>
          </p:cNvPr>
          <p:cNvGrpSpPr/>
          <p:nvPr/>
        </p:nvGrpSpPr>
        <p:grpSpPr>
          <a:xfrm>
            <a:off x="3770065" y="2868319"/>
            <a:ext cx="171180" cy="171180"/>
            <a:chOff x="3392092" y="1841122"/>
            <a:chExt cx="646508" cy="646508"/>
          </a:xfrm>
        </p:grpSpPr>
        <p:sp>
          <p:nvSpPr>
            <p:cNvPr id="9" name="Rechteck 14">
              <a:extLst>
                <a:ext uri="{FF2B5EF4-FFF2-40B4-BE49-F238E27FC236}">
                  <a16:creationId xmlns:a16="http://schemas.microsoft.com/office/drawing/2014/main" id="{D78F58EA-5525-8D43-8295-FEA52ECF6BF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392092" y="1841122"/>
              <a:ext cx="646508" cy="646508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Freeform 67">
              <a:extLst>
                <a:ext uri="{FF2B5EF4-FFF2-40B4-BE49-F238E27FC236}">
                  <a16:creationId xmlns:a16="http://schemas.microsoft.com/office/drawing/2014/main" id="{D01A6292-2776-4945-B828-483D79DC490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46638" y="1970424"/>
              <a:ext cx="337415" cy="387905"/>
            </a:xfrm>
            <a:custGeom>
              <a:avLst/>
              <a:gdLst>
                <a:gd name="T0" fmla="*/ 573 w 1624"/>
                <a:gd name="T1" fmla="*/ 1257 h 1867"/>
                <a:gd name="T2" fmla="*/ 662 w 1624"/>
                <a:gd name="T3" fmla="*/ 1288 h 1867"/>
                <a:gd name="T4" fmla="*/ 938 w 1624"/>
                <a:gd name="T5" fmla="*/ 1051 h 1867"/>
                <a:gd name="T6" fmla="*/ 1106 w 1624"/>
                <a:gd name="T7" fmla="*/ 731 h 1867"/>
                <a:gd name="T8" fmla="*/ 1059 w 1624"/>
                <a:gd name="T9" fmla="*/ 645 h 1867"/>
                <a:gd name="T10" fmla="*/ 1001 w 1624"/>
                <a:gd name="T11" fmla="*/ 613 h 1867"/>
                <a:gd name="T12" fmla="*/ 924 w 1624"/>
                <a:gd name="T13" fmla="*/ 432 h 1867"/>
                <a:gd name="T14" fmla="*/ 1114 w 1624"/>
                <a:gd name="T15" fmla="*/ 81 h 1867"/>
                <a:gd name="T16" fmla="*/ 1287 w 1624"/>
                <a:gd name="T17" fmla="*/ 35 h 1867"/>
                <a:gd name="T18" fmla="*/ 1350 w 1624"/>
                <a:gd name="T19" fmla="*/ 69 h 1867"/>
                <a:gd name="T20" fmla="*/ 1527 w 1624"/>
                <a:gd name="T21" fmla="*/ 235 h 1867"/>
                <a:gd name="T22" fmla="*/ 1583 w 1624"/>
                <a:gd name="T23" fmla="*/ 555 h 1867"/>
                <a:gd name="T24" fmla="*/ 1172 w 1624"/>
                <a:gd name="T25" fmla="*/ 1253 h 1867"/>
                <a:gd name="T26" fmla="*/ 586 w 1624"/>
                <a:gd name="T27" fmla="*/ 1803 h 1867"/>
                <a:gd name="T28" fmla="*/ 269 w 1624"/>
                <a:gd name="T29" fmla="*/ 1807 h 1867"/>
                <a:gd name="T30" fmla="*/ 33 w 1624"/>
                <a:gd name="T31" fmla="*/ 1602 h 1867"/>
                <a:gd name="T32" fmla="*/ 2 w 1624"/>
                <a:gd name="T33" fmla="*/ 1508 h 1867"/>
                <a:gd name="T34" fmla="*/ 45 w 1624"/>
                <a:gd name="T35" fmla="*/ 1421 h 1867"/>
                <a:gd name="T36" fmla="*/ 346 w 1624"/>
                <a:gd name="T37" fmla="*/ 1158 h 1867"/>
                <a:gd name="T38" fmla="*/ 448 w 1624"/>
                <a:gd name="T39" fmla="*/ 1145 h 1867"/>
                <a:gd name="T40" fmla="*/ 573 w 1624"/>
                <a:gd name="T41" fmla="*/ 1257 h 1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4" h="1867">
                  <a:moveTo>
                    <a:pt x="573" y="1257"/>
                  </a:moveTo>
                  <a:cubicBezTo>
                    <a:pt x="592" y="1282"/>
                    <a:pt x="630" y="1303"/>
                    <a:pt x="662" y="1288"/>
                  </a:cubicBezTo>
                  <a:cubicBezTo>
                    <a:pt x="753" y="1245"/>
                    <a:pt x="854" y="1156"/>
                    <a:pt x="938" y="1051"/>
                  </a:cubicBezTo>
                  <a:cubicBezTo>
                    <a:pt x="1020" y="948"/>
                    <a:pt x="1084" y="831"/>
                    <a:pt x="1106" y="731"/>
                  </a:cubicBezTo>
                  <a:cubicBezTo>
                    <a:pt x="1113" y="696"/>
                    <a:pt x="1089" y="661"/>
                    <a:pt x="1059" y="645"/>
                  </a:cubicBezTo>
                  <a:cubicBezTo>
                    <a:pt x="1001" y="613"/>
                    <a:pt x="1001" y="613"/>
                    <a:pt x="1001" y="613"/>
                  </a:cubicBezTo>
                  <a:cubicBezTo>
                    <a:pt x="942" y="580"/>
                    <a:pt x="888" y="499"/>
                    <a:pt x="924" y="432"/>
                  </a:cubicBezTo>
                  <a:cubicBezTo>
                    <a:pt x="1114" y="81"/>
                    <a:pt x="1114" y="81"/>
                    <a:pt x="1114" y="81"/>
                  </a:cubicBezTo>
                  <a:cubicBezTo>
                    <a:pt x="1150" y="16"/>
                    <a:pt x="1224" y="0"/>
                    <a:pt x="1287" y="35"/>
                  </a:cubicBezTo>
                  <a:cubicBezTo>
                    <a:pt x="1350" y="69"/>
                    <a:pt x="1350" y="69"/>
                    <a:pt x="1350" y="69"/>
                  </a:cubicBezTo>
                  <a:cubicBezTo>
                    <a:pt x="1415" y="105"/>
                    <a:pt x="1479" y="165"/>
                    <a:pt x="1527" y="235"/>
                  </a:cubicBezTo>
                  <a:cubicBezTo>
                    <a:pt x="1593" y="332"/>
                    <a:pt x="1624" y="442"/>
                    <a:pt x="1583" y="555"/>
                  </a:cubicBezTo>
                  <a:cubicBezTo>
                    <a:pt x="1500" y="781"/>
                    <a:pt x="1351" y="1030"/>
                    <a:pt x="1172" y="1253"/>
                  </a:cubicBezTo>
                  <a:cubicBezTo>
                    <a:pt x="994" y="1477"/>
                    <a:pt x="786" y="1676"/>
                    <a:pt x="586" y="1803"/>
                  </a:cubicBezTo>
                  <a:cubicBezTo>
                    <a:pt x="486" y="1867"/>
                    <a:pt x="375" y="1856"/>
                    <a:pt x="269" y="1807"/>
                  </a:cubicBezTo>
                  <a:cubicBezTo>
                    <a:pt x="157" y="1755"/>
                    <a:pt x="106" y="1695"/>
                    <a:pt x="33" y="1602"/>
                  </a:cubicBezTo>
                  <a:cubicBezTo>
                    <a:pt x="11" y="1573"/>
                    <a:pt x="0" y="1540"/>
                    <a:pt x="2" y="1508"/>
                  </a:cubicBezTo>
                  <a:cubicBezTo>
                    <a:pt x="4" y="1475"/>
                    <a:pt x="18" y="1444"/>
                    <a:pt x="45" y="1421"/>
                  </a:cubicBezTo>
                  <a:cubicBezTo>
                    <a:pt x="70" y="1399"/>
                    <a:pt x="346" y="1158"/>
                    <a:pt x="346" y="1158"/>
                  </a:cubicBezTo>
                  <a:cubicBezTo>
                    <a:pt x="376" y="1134"/>
                    <a:pt x="413" y="1133"/>
                    <a:pt x="448" y="1145"/>
                  </a:cubicBezTo>
                  <a:cubicBezTo>
                    <a:pt x="510" y="1166"/>
                    <a:pt x="536" y="1210"/>
                    <a:pt x="573" y="12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</p:grpSp>
      <p:grpSp>
        <p:nvGrpSpPr>
          <p:cNvPr id="11" name="Group 3">
            <a:extLst>
              <a:ext uri="{FF2B5EF4-FFF2-40B4-BE49-F238E27FC236}">
                <a16:creationId xmlns:a16="http://schemas.microsoft.com/office/drawing/2014/main" id="{DED6A25A-5DE2-1441-8BA2-C68D3B4F9209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770066" y="3153207"/>
            <a:ext cx="171180" cy="171180"/>
            <a:chOff x="328396" y="5313940"/>
            <a:chExt cx="720000" cy="720000"/>
          </a:xfrm>
        </p:grpSpPr>
        <p:sp>
          <p:nvSpPr>
            <p:cNvPr id="12" name="Rectangle 4">
              <a:extLst>
                <a:ext uri="{FF2B5EF4-FFF2-40B4-BE49-F238E27FC236}">
                  <a16:creationId xmlns:a16="http://schemas.microsoft.com/office/drawing/2014/main" id="{5F49E67F-D4FA-9D48-96BC-59AE946ECD15}"/>
                </a:ext>
              </a:extLst>
            </p:cNvPr>
            <p:cNvSpPr/>
            <p:nvPr/>
          </p:nvSpPr>
          <p:spPr bwMode="gray">
            <a:xfrm>
              <a:off x="328396" y="5313940"/>
              <a:ext cx="720000" cy="720000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Freeform 76">
              <a:extLst>
                <a:ext uri="{FF2B5EF4-FFF2-40B4-BE49-F238E27FC236}">
                  <a16:creationId xmlns:a16="http://schemas.microsoft.com/office/drawing/2014/main" id="{187E70E6-AF3F-2549-908E-DF4BA61040A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56202" y="5509222"/>
              <a:ext cx="504000" cy="329436"/>
            </a:xfrm>
            <a:custGeom>
              <a:avLst/>
              <a:gdLst>
                <a:gd name="T0" fmla="*/ 0 w 2080"/>
                <a:gd name="T1" fmla="*/ 65 h 1360"/>
                <a:gd name="T2" fmla="*/ 0 w 2080"/>
                <a:gd name="T3" fmla="*/ 0 h 1360"/>
                <a:gd name="T4" fmla="*/ 2080 w 2080"/>
                <a:gd name="T5" fmla="*/ 0 h 1360"/>
                <a:gd name="T6" fmla="*/ 2080 w 2080"/>
                <a:gd name="T7" fmla="*/ 65 h 1360"/>
                <a:gd name="T8" fmla="*/ 1089 w 2080"/>
                <a:gd name="T9" fmla="*/ 862 h 1360"/>
                <a:gd name="T10" fmla="*/ 991 w 2080"/>
                <a:gd name="T11" fmla="*/ 862 h 1360"/>
                <a:gd name="T12" fmla="*/ 0 w 2080"/>
                <a:gd name="T13" fmla="*/ 65 h 1360"/>
                <a:gd name="T14" fmla="*/ 1139 w 2080"/>
                <a:gd name="T15" fmla="*/ 924 h 1360"/>
                <a:gd name="T16" fmla="*/ 1282 w 2080"/>
                <a:gd name="T17" fmla="*/ 810 h 1360"/>
                <a:gd name="T18" fmla="*/ 2076 w 2080"/>
                <a:gd name="T19" fmla="*/ 1360 h 1360"/>
                <a:gd name="T20" fmla="*/ 4 w 2080"/>
                <a:gd name="T21" fmla="*/ 1360 h 1360"/>
                <a:gd name="T22" fmla="*/ 798 w 2080"/>
                <a:gd name="T23" fmla="*/ 810 h 1360"/>
                <a:gd name="T24" fmla="*/ 941 w 2080"/>
                <a:gd name="T25" fmla="*/ 924 h 1360"/>
                <a:gd name="T26" fmla="*/ 1139 w 2080"/>
                <a:gd name="T27" fmla="*/ 924 h 1360"/>
                <a:gd name="T28" fmla="*/ 2 w 2080"/>
                <a:gd name="T29" fmla="*/ 137 h 1360"/>
                <a:gd name="T30" fmla="*/ 42 w 2080"/>
                <a:gd name="T31" fmla="*/ 201 h 1360"/>
                <a:gd name="T32" fmla="*/ 734 w 2080"/>
                <a:gd name="T33" fmla="*/ 758 h 1360"/>
                <a:gd name="T34" fmla="*/ 0 w 2080"/>
                <a:gd name="T35" fmla="*/ 1266 h 1360"/>
                <a:gd name="T36" fmla="*/ 0 w 2080"/>
                <a:gd name="T37" fmla="*/ 135 h 1360"/>
                <a:gd name="T38" fmla="*/ 2 w 2080"/>
                <a:gd name="T39" fmla="*/ 137 h 1360"/>
                <a:gd name="T40" fmla="*/ 2080 w 2080"/>
                <a:gd name="T41" fmla="*/ 136 h 1360"/>
                <a:gd name="T42" fmla="*/ 2080 w 2080"/>
                <a:gd name="T43" fmla="*/ 1265 h 1360"/>
                <a:gd name="T44" fmla="*/ 1346 w 2080"/>
                <a:gd name="T45" fmla="*/ 758 h 1360"/>
                <a:gd name="T46" fmla="*/ 2038 w 2080"/>
                <a:gd name="T47" fmla="*/ 201 h 1360"/>
                <a:gd name="T48" fmla="*/ 2080 w 2080"/>
                <a:gd name="T49" fmla="*/ 136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80" h="1360">
                  <a:moveTo>
                    <a:pt x="0" y="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80" y="0"/>
                    <a:pt x="2080" y="0"/>
                    <a:pt x="2080" y="0"/>
                  </a:cubicBezTo>
                  <a:cubicBezTo>
                    <a:pt x="2080" y="65"/>
                    <a:pt x="2080" y="65"/>
                    <a:pt x="2080" y="65"/>
                  </a:cubicBezTo>
                  <a:cubicBezTo>
                    <a:pt x="1089" y="862"/>
                    <a:pt x="1089" y="862"/>
                    <a:pt x="1089" y="862"/>
                  </a:cubicBezTo>
                  <a:cubicBezTo>
                    <a:pt x="1060" y="886"/>
                    <a:pt x="1020" y="886"/>
                    <a:pt x="991" y="862"/>
                  </a:cubicBezTo>
                  <a:lnTo>
                    <a:pt x="0" y="65"/>
                  </a:lnTo>
                  <a:close/>
                  <a:moveTo>
                    <a:pt x="1139" y="924"/>
                  </a:moveTo>
                  <a:cubicBezTo>
                    <a:pt x="1282" y="810"/>
                    <a:pt x="1282" y="810"/>
                    <a:pt x="1282" y="810"/>
                  </a:cubicBezTo>
                  <a:cubicBezTo>
                    <a:pt x="2076" y="1360"/>
                    <a:pt x="2076" y="1360"/>
                    <a:pt x="2076" y="1360"/>
                  </a:cubicBezTo>
                  <a:cubicBezTo>
                    <a:pt x="4" y="1360"/>
                    <a:pt x="4" y="1360"/>
                    <a:pt x="4" y="1360"/>
                  </a:cubicBezTo>
                  <a:cubicBezTo>
                    <a:pt x="798" y="810"/>
                    <a:pt x="798" y="810"/>
                    <a:pt x="798" y="810"/>
                  </a:cubicBezTo>
                  <a:cubicBezTo>
                    <a:pt x="941" y="924"/>
                    <a:pt x="941" y="924"/>
                    <a:pt x="941" y="924"/>
                  </a:cubicBezTo>
                  <a:cubicBezTo>
                    <a:pt x="1000" y="972"/>
                    <a:pt x="1080" y="972"/>
                    <a:pt x="1139" y="924"/>
                  </a:cubicBezTo>
                  <a:close/>
                  <a:moveTo>
                    <a:pt x="2" y="137"/>
                  </a:moveTo>
                  <a:cubicBezTo>
                    <a:pt x="8" y="163"/>
                    <a:pt x="22" y="185"/>
                    <a:pt x="42" y="201"/>
                  </a:cubicBezTo>
                  <a:cubicBezTo>
                    <a:pt x="734" y="758"/>
                    <a:pt x="734" y="758"/>
                    <a:pt x="734" y="758"/>
                  </a:cubicBezTo>
                  <a:cubicBezTo>
                    <a:pt x="0" y="1266"/>
                    <a:pt x="0" y="1266"/>
                    <a:pt x="0" y="1266"/>
                  </a:cubicBezTo>
                  <a:cubicBezTo>
                    <a:pt x="0" y="135"/>
                    <a:pt x="0" y="135"/>
                    <a:pt x="0" y="135"/>
                  </a:cubicBezTo>
                  <a:lnTo>
                    <a:pt x="2" y="137"/>
                  </a:lnTo>
                  <a:close/>
                  <a:moveTo>
                    <a:pt x="2080" y="136"/>
                  </a:moveTo>
                  <a:cubicBezTo>
                    <a:pt x="2080" y="1265"/>
                    <a:pt x="2080" y="1265"/>
                    <a:pt x="2080" y="1265"/>
                  </a:cubicBezTo>
                  <a:cubicBezTo>
                    <a:pt x="1346" y="758"/>
                    <a:pt x="1346" y="758"/>
                    <a:pt x="1346" y="758"/>
                  </a:cubicBezTo>
                  <a:cubicBezTo>
                    <a:pt x="2038" y="201"/>
                    <a:pt x="2038" y="201"/>
                    <a:pt x="2038" y="201"/>
                  </a:cubicBezTo>
                  <a:cubicBezTo>
                    <a:pt x="2060" y="182"/>
                    <a:pt x="2072" y="162"/>
                    <a:pt x="2080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</p:grpSp>
      <p:grpSp>
        <p:nvGrpSpPr>
          <p:cNvPr id="14" name="Gruppieren 2">
            <a:extLst>
              <a:ext uri="{FF2B5EF4-FFF2-40B4-BE49-F238E27FC236}">
                <a16:creationId xmlns:a16="http://schemas.microsoft.com/office/drawing/2014/main" id="{BE697CE9-EBDE-6B4A-BE70-582D92A8A831}"/>
              </a:ext>
            </a:extLst>
          </p:cNvPr>
          <p:cNvGrpSpPr/>
          <p:nvPr/>
        </p:nvGrpSpPr>
        <p:grpSpPr>
          <a:xfrm>
            <a:off x="8701917" y="2868319"/>
            <a:ext cx="171180" cy="171180"/>
            <a:chOff x="3392092" y="1841122"/>
            <a:chExt cx="646508" cy="646508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E142A731-19B7-C34D-9534-9E05108F895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392092" y="1841122"/>
              <a:ext cx="646508" cy="646508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F97E84AE-4AD9-4B44-9AA1-F797FC37380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46638" y="1970424"/>
              <a:ext cx="337415" cy="387905"/>
            </a:xfrm>
            <a:custGeom>
              <a:avLst/>
              <a:gdLst>
                <a:gd name="T0" fmla="*/ 573 w 1624"/>
                <a:gd name="T1" fmla="*/ 1257 h 1867"/>
                <a:gd name="T2" fmla="*/ 662 w 1624"/>
                <a:gd name="T3" fmla="*/ 1288 h 1867"/>
                <a:gd name="T4" fmla="*/ 938 w 1624"/>
                <a:gd name="T5" fmla="*/ 1051 h 1867"/>
                <a:gd name="T6" fmla="*/ 1106 w 1624"/>
                <a:gd name="T7" fmla="*/ 731 h 1867"/>
                <a:gd name="T8" fmla="*/ 1059 w 1624"/>
                <a:gd name="T9" fmla="*/ 645 h 1867"/>
                <a:gd name="T10" fmla="*/ 1001 w 1624"/>
                <a:gd name="T11" fmla="*/ 613 h 1867"/>
                <a:gd name="T12" fmla="*/ 924 w 1624"/>
                <a:gd name="T13" fmla="*/ 432 h 1867"/>
                <a:gd name="T14" fmla="*/ 1114 w 1624"/>
                <a:gd name="T15" fmla="*/ 81 h 1867"/>
                <a:gd name="T16" fmla="*/ 1287 w 1624"/>
                <a:gd name="T17" fmla="*/ 35 h 1867"/>
                <a:gd name="T18" fmla="*/ 1350 w 1624"/>
                <a:gd name="T19" fmla="*/ 69 h 1867"/>
                <a:gd name="T20" fmla="*/ 1527 w 1624"/>
                <a:gd name="T21" fmla="*/ 235 h 1867"/>
                <a:gd name="T22" fmla="*/ 1583 w 1624"/>
                <a:gd name="T23" fmla="*/ 555 h 1867"/>
                <a:gd name="T24" fmla="*/ 1172 w 1624"/>
                <a:gd name="T25" fmla="*/ 1253 h 1867"/>
                <a:gd name="T26" fmla="*/ 586 w 1624"/>
                <a:gd name="T27" fmla="*/ 1803 h 1867"/>
                <a:gd name="T28" fmla="*/ 269 w 1624"/>
                <a:gd name="T29" fmla="*/ 1807 h 1867"/>
                <a:gd name="T30" fmla="*/ 33 w 1624"/>
                <a:gd name="T31" fmla="*/ 1602 h 1867"/>
                <a:gd name="T32" fmla="*/ 2 w 1624"/>
                <a:gd name="T33" fmla="*/ 1508 h 1867"/>
                <a:gd name="T34" fmla="*/ 45 w 1624"/>
                <a:gd name="T35" fmla="*/ 1421 h 1867"/>
                <a:gd name="T36" fmla="*/ 346 w 1624"/>
                <a:gd name="T37" fmla="*/ 1158 h 1867"/>
                <a:gd name="T38" fmla="*/ 448 w 1624"/>
                <a:gd name="T39" fmla="*/ 1145 h 1867"/>
                <a:gd name="T40" fmla="*/ 573 w 1624"/>
                <a:gd name="T41" fmla="*/ 1257 h 1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4" h="1867">
                  <a:moveTo>
                    <a:pt x="573" y="1257"/>
                  </a:moveTo>
                  <a:cubicBezTo>
                    <a:pt x="592" y="1282"/>
                    <a:pt x="630" y="1303"/>
                    <a:pt x="662" y="1288"/>
                  </a:cubicBezTo>
                  <a:cubicBezTo>
                    <a:pt x="753" y="1245"/>
                    <a:pt x="854" y="1156"/>
                    <a:pt x="938" y="1051"/>
                  </a:cubicBezTo>
                  <a:cubicBezTo>
                    <a:pt x="1020" y="948"/>
                    <a:pt x="1084" y="831"/>
                    <a:pt x="1106" y="731"/>
                  </a:cubicBezTo>
                  <a:cubicBezTo>
                    <a:pt x="1113" y="696"/>
                    <a:pt x="1089" y="661"/>
                    <a:pt x="1059" y="645"/>
                  </a:cubicBezTo>
                  <a:cubicBezTo>
                    <a:pt x="1001" y="613"/>
                    <a:pt x="1001" y="613"/>
                    <a:pt x="1001" y="613"/>
                  </a:cubicBezTo>
                  <a:cubicBezTo>
                    <a:pt x="942" y="580"/>
                    <a:pt x="888" y="499"/>
                    <a:pt x="924" y="432"/>
                  </a:cubicBezTo>
                  <a:cubicBezTo>
                    <a:pt x="1114" y="81"/>
                    <a:pt x="1114" y="81"/>
                    <a:pt x="1114" y="81"/>
                  </a:cubicBezTo>
                  <a:cubicBezTo>
                    <a:pt x="1150" y="16"/>
                    <a:pt x="1224" y="0"/>
                    <a:pt x="1287" y="35"/>
                  </a:cubicBezTo>
                  <a:cubicBezTo>
                    <a:pt x="1350" y="69"/>
                    <a:pt x="1350" y="69"/>
                    <a:pt x="1350" y="69"/>
                  </a:cubicBezTo>
                  <a:cubicBezTo>
                    <a:pt x="1415" y="105"/>
                    <a:pt x="1479" y="165"/>
                    <a:pt x="1527" y="235"/>
                  </a:cubicBezTo>
                  <a:cubicBezTo>
                    <a:pt x="1593" y="332"/>
                    <a:pt x="1624" y="442"/>
                    <a:pt x="1583" y="555"/>
                  </a:cubicBezTo>
                  <a:cubicBezTo>
                    <a:pt x="1500" y="781"/>
                    <a:pt x="1351" y="1030"/>
                    <a:pt x="1172" y="1253"/>
                  </a:cubicBezTo>
                  <a:cubicBezTo>
                    <a:pt x="994" y="1477"/>
                    <a:pt x="786" y="1676"/>
                    <a:pt x="586" y="1803"/>
                  </a:cubicBezTo>
                  <a:cubicBezTo>
                    <a:pt x="486" y="1867"/>
                    <a:pt x="375" y="1856"/>
                    <a:pt x="269" y="1807"/>
                  </a:cubicBezTo>
                  <a:cubicBezTo>
                    <a:pt x="157" y="1755"/>
                    <a:pt x="106" y="1695"/>
                    <a:pt x="33" y="1602"/>
                  </a:cubicBezTo>
                  <a:cubicBezTo>
                    <a:pt x="11" y="1573"/>
                    <a:pt x="0" y="1540"/>
                    <a:pt x="2" y="1508"/>
                  </a:cubicBezTo>
                  <a:cubicBezTo>
                    <a:pt x="4" y="1475"/>
                    <a:pt x="18" y="1444"/>
                    <a:pt x="45" y="1421"/>
                  </a:cubicBezTo>
                  <a:cubicBezTo>
                    <a:pt x="70" y="1399"/>
                    <a:pt x="346" y="1158"/>
                    <a:pt x="346" y="1158"/>
                  </a:cubicBezTo>
                  <a:cubicBezTo>
                    <a:pt x="376" y="1134"/>
                    <a:pt x="413" y="1133"/>
                    <a:pt x="448" y="1145"/>
                  </a:cubicBezTo>
                  <a:cubicBezTo>
                    <a:pt x="510" y="1166"/>
                    <a:pt x="536" y="1210"/>
                    <a:pt x="573" y="12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</p:grpSp>
      <p:grpSp>
        <p:nvGrpSpPr>
          <p:cNvPr id="17" name="Group 3">
            <a:extLst>
              <a:ext uri="{FF2B5EF4-FFF2-40B4-BE49-F238E27FC236}">
                <a16:creationId xmlns:a16="http://schemas.microsoft.com/office/drawing/2014/main" id="{7104BADD-8CD1-6F4A-B894-869C3BDB3EEB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701918" y="3153207"/>
            <a:ext cx="171180" cy="171180"/>
            <a:chOff x="328396" y="5313940"/>
            <a:chExt cx="720000" cy="720000"/>
          </a:xfrm>
        </p:grpSpPr>
        <p:sp>
          <p:nvSpPr>
            <p:cNvPr id="18" name="Rectangle 4">
              <a:extLst>
                <a:ext uri="{FF2B5EF4-FFF2-40B4-BE49-F238E27FC236}">
                  <a16:creationId xmlns:a16="http://schemas.microsoft.com/office/drawing/2014/main" id="{74BE3D5F-1445-6E40-8B49-72E15568383B}"/>
                </a:ext>
              </a:extLst>
            </p:cNvPr>
            <p:cNvSpPr/>
            <p:nvPr/>
          </p:nvSpPr>
          <p:spPr bwMode="gray">
            <a:xfrm>
              <a:off x="328396" y="5313940"/>
              <a:ext cx="720000" cy="720000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Freeform 76">
              <a:extLst>
                <a:ext uri="{FF2B5EF4-FFF2-40B4-BE49-F238E27FC236}">
                  <a16:creationId xmlns:a16="http://schemas.microsoft.com/office/drawing/2014/main" id="{55DB3C95-7D0C-D141-901E-96D692794D2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56202" y="5509222"/>
              <a:ext cx="504000" cy="329436"/>
            </a:xfrm>
            <a:custGeom>
              <a:avLst/>
              <a:gdLst>
                <a:gd name="T0" fmla="*/ 0 w 2080"/>
                <a:gd name="T1" fmla="*/ 65 h 1360"/>
                <a:gd name="T2" fmla="*/ 0 w 2080"/>
                <a:gd name="T3" fmla="*/ 0 h 1360"/>
                <a:gd name="T4" fmla="*/ 2080 w 2080"/>
                <a:gd name="T5" fmla="*/ 0 h 1360"/>
                <a:gd name="T6" fmla="*/ 2080 w 2080"/>
                <a:gd name="T7" fmla="*/ 65 h 1360"/>
                <a:gd name="T8" fmla="*/ 1089 w 2080"/>
                <a:gd name="T9" fmla="*/ 862 h 1360"/>
                <a:gd name="T10" fmla="*/ 991 w 2080"/>
                <a:gd name="T11" fmla="*/ 862 h 1360"/>
                <a:gd name="T12" fmla="*/ 0 w 2080"/>
                <a:gd name="T13" fmla="*/ 65 h 1360"/>
                <a:gd name="T14" fmla="*/ 1139 w 2080"/>
                <a:gd name="T15" fmla="*/ 924 h 1360"/>
                <a:gd name="T16" fmla="*/ 1282 w 2080"/>
                <a:gd name="T17" fmla="*/ 810 h 1360"/>
                <a:gd name="T18" fmla="*/ 2076 w 2080"/>
                <a:gd name="T19" fmla="*/ 1360 h 1360"/>
                <a:gd name="T20" fmla="*/ 4 w 2080"/>
                <a:gd name="T21" fmla="*/ 1360 h 1360"/>
                <a:gd name="T22" fmla="*/ 798 w 2080"/>
                <a:gd name="T23" fmla="*/ 810 h 1360"/>
                <a:gd name="T24" fmla="*/ 941 w 2080"/>
                <a:gd name="T25" fmla="*/ 924 h 1360"/>
                <a:gd name="T26" fmla="*/ 1139 w 2080"/>
                <a:gd name="T27" fmla="*/ 924 h 1360"/>
                <a:gd name="T28" fmla="*/ 2 w 2080"/>
                <a:gd name="T29" fmla="*/ 137 h 1360"/>
                <a:gd name="T30" fmla="*/ 42 w 2080"/>
                <a:gd name="T31" fmla="*/ 201 h 1360"/>
                <a:gd name="T32" fmla="*/ 734 w 2080"/>
                <a:gd name="T33" fmla="*/ 758 h 1360"/>
                <a:gd name="T34" fmla="*/ 0 w 2080"/>
                <a:gd name="T35" fmla="*/ 1266 h 1360"/>
                <a:gd name="T36" fmla="*/ 0 w 2080"/>
                <a:gd name="T37" fmla="*/ 135 h 1360"/>
                <a:gd name="T38" fmla="*/ 2 w 2080"/>
                <a:gd name="T39" fmla="*/ 137 h 1360"/>
                <a:gd name="T40" fmla="*/ 2080 w 2080"/>
                <a:gd name="T41" fmla="*/ 136 h 1360"/>
                <a:gd name="T42" fmla="*/ 2080 w 2080"/>
                <a:gd name="T43" fmla="*/ 1265 h 1360"/>
                <a:gd name="T44" fmla="*/ 1346 w 2080"/>
                <a:gd name="T45" fmla="*/ 758 h 1360"/>
                <a:gd name="T46" fmla="*/ 2038 w 2080"/>
                <a:gd name="T47" fmla="*/ 201 h 1360"/>
                <a:gd name="T48" fmla="*/ 2080 w 2080"/>
                <a:gd name="T49" fmla="*/ 136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80" h="1360">
                  <a:moveTo>
                    <a:pt x="0" y="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80" y="0"/>
                    <a:pt x="2080" y="0"/>
                    <a:pt x="2080" y="0"/>
                  </a:cubicBezTo>
                  <a:cubicBezTo>
                    <a:pt x="2080" y="65"/>
                    <a:pt x="2080" y="65"/>
                    <a:pt x="2080" y="65"/>
                  </a:cubicBezTo>
                  <a:cubicBezTo>
                    <a:pt x="1089" y="862"/>
                    <a:pt x="1089" y="862"/>
                    <a:pt x="1089" y="862"/>
                  </a:cubicBezTo>
                  <a:cubicBezTo>
                    <a:pt x="1060" y="886"/>
                    <a:pt x="1020" y="886"/>
                    <a:pt x="991" y="862"/>
                  </a:cubicBezTo>
                  <a:lnTo>
                    <a:pt x="0" y="65"/>
                  </a:lnTo>
                  <a:close/>
                  <a:moveTo>
                    <a:pt x="1139" y="924"/>
                  </a:moveTo>
                  <a:cubicBezTo>
                    <a:pt x="1282" y="810"/>
                    <a:pt x="1282" y="810"/>
                    <a:pt x="1282" y="810"/>
                  </a:cubicBezTo>
                  <a:cubicBezTo>
                    <a:pt x="2076" y="1360"/>
                    <a:pt x="2076" y="1360"/>
                    <a:pt x="2076" y="1360"/>
                  </a:cubicBezTo>
                  <a:cubicBezTo>
                    <a:pt x="4" y="1360"/>
                    <a:pt x="4" y="1360"/>
                    <a:pt x="4" y="1360"/>
                  </a:cubicBezTo>
                  <a:cubicBezTo>
                    <a:pt x="798" y="810"/>
                    <a:pt x="798" y="810"/>
                    <a:pt x="798" y="810"/>
                  </a:cubicBezTo>
                  <a:cubicBezTo>
                    <a:pt x="941" y="924"/>
                    <a:pt x="941" y="924"/>
                    <a:pt x="941" y="924"/>
                  </a:cubicBezTo>
                  <a:cubicBezTo>
                    <a:pt x="1000" y="972"/>
                    <a:pt x="1080" y="972"/>
                    <a:pt x="1139" y="924"/>
                  </a:cubicBezTo>
                  <a:close/>
                  <a:moveTo>
                    <a:pt x="2" y="137"/>
                  </a:moveTo>
                  <a:cubicBezTo>
                    <a:pt x="8" y="163"/>
                    <a:pt x="22" y="185"/>
                    <a:pt x="42" y="201"/>
                  </a:cubicBezTo>
                  <a:cubicBezTo>
                    <a:pt x="734" y="758"/>
                    <a:pt x="734" y="758"/>
                    <a:pt x="734" y="758"/>
                  </a:cubicBezTo>
                  <a:cubicBezTo>
                    <a:pt x="0" y="1266"/>
                    <a:pt x="0" y="1266"/>
                    <a:pt x="0" y="1266"/>
                  </a:cubicBezTo>
                  <a:cubicBezTo>
                    <a:pt x="0" y="135"/>
                    <a:pt x="0" y="135"/>
                    <a:pt x="0" y="135"/>
                  </a:cubicBezTo>
                  <a:lnTo>
                    <a:pt x="2" y="137"/>
                  </a:lnTo>
                  <a:close/>
                  <a:moveTo>
                    <a:pt x="2080" y="136"/>
                  </a:moveTo>
                  <a:cubicBezTo>
                    <a:pt x="2080" y="1265"/>
                    <a:pt x="2080" y="1265"/>
                    <a:pt x="2080" y="1265"/>
                  </a:cubicBezTo>
                  <a:cubicBezTo>
                    <a:pt x="1346" y="758"/>
                    <a:pt x="1346" y="758"/>
                    <a:pt x="1346" y="758"/>
                  </a:cubicBezTo>
                  <a:cubicBezTo>
                    <a:pt x="2038" y="201"/>
                    <a:pt x="2038" y="201"/>
                    <a:pt x="2038" y="201"/>
                  </a:cubicBezTo>
                  <a:cubicBezTo>
                    <a:pt x="2060" y="182"/>
                    <a:pt x="2072" y="162"/>
                    <a:pt x="2080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</p:grpSp>
      <p:cxnSp>
        <p:nvCxnSpPr>
          <p:cNvPr id="20" name="Straight Connector 19"/>
          <p:cNvCxnSpPr/>
          <p:nvPr/>
        </p:nvCxnSpPr>
        <p:spPr>
          <a:xfrm>
            <a:off x="2371725" y="3478213"/>
            <a:ext cx="388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7287766" y="3478213"/>
            <a:ext cx="388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2355914" y="1808984"/>
            <a:ext cx="1188677" cy="1547840"/>
          </a:xfr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7287766" y="1808984"/>
            <a:ext cx="1188677" cy="1547840"/>
          </a:xfr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770065" y="1808521"/>
            <a:ext cx="2463190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770065" y="2020337"/>
            <a:ext cx="2463190" cy="266182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Name, Surname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3770065" y="2316912"/>
            <a:ext cx="2463190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Job Position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014948" y="2845588"/>
            <a:ext cx="2218307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Phone number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014948" y="3128395"/>
            <a:ext cx="2218307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8701917" y="1808521"/>
            <a:ext cx="2463190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8701917" y="2020337"/>
            <a:ext cx="2463190" cy="266182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Name, Surname</a:t>
            </a:r>
          </a:p>
        </p:txBody>
      </p:sp>
      <p:sp>
        <p:nvSpPr>
          <p:cNvPr id="32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8701917" y="2316912"/>
            <a:ext cx="2463190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Job Position</a:t>
            </a:r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8946800" y="2845588"/>
            <a:ext cx="2218307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Phone number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8946800" y="3128395"/>
            <a:ext cx="2218307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Email address</a:t>
            </a:r>
          </a:p>
        </p:txBody>
      </p:sp>
      <p:grpSp>
        <p:nvGrpSpPr>
          <p:cNvPr id="35" name="Gruppieren 2">
            <a:extLst>
              <a:ext uri="{FF2B5EF4-FFF2-40B4-BE49-F238E27FC236}">
                <a16:creationId xmlns:a16="http://schemas.microsoft.com/office/drawing/2014/main" id="{BE697CE9-EBDE-6B4A-BE70-582D92A8A831}"/>
              </a:ext>
            </a:extLst>
          </p:cNvPr>
          <p:cNvGrpSpPr/>
          <p:nvPr/>
        </p:nvGrpSpPr>
        <p:grpSpPr>
          <a:xfrm>
            <a:off x="3770065" y="5045939"/>
            <a:ext cx="171180" cy="171180"/>
            <a:chOff x="3392092" y="1841122"/>
            <a:chExt cx="646508" cy="646508"/>
          </a:xfrm>
        </p:grpSpPr>
        <p:sp>
          <p:nvSpPr>
            <p:cNvPr id="36" name="Rechteck 14">
              <a:extLst>
                <a:ext uri="{FF2B5EF4-FFF2-40B4-BE49-F238E27FC236}">
                  <a16:creationId xmlns:a16="http://schemas.microsoft.com/office/drawing/2014/main" id="{E142A731-19B7-C34D-9534-9E05108F895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392092" y="1841122"/>
              <a:ext cx="646508" cy="646508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F97E84AE-4AD9-4B44-9AA1-F797FC37380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46638" y="1970424"/>
              <a:ext cx="337415" cy="387905"/>
            </a:xfrm>
            <a:custGeom>
              <a:avLst/>
              <a:gdLst>
                <a:gd name="T0" fmla="*/ 573 w 1624"/>
                <a:gd name="T1" fmla="*/ 1257 h 1867"/>
                <a:gd name="T2" fmla="*/ 662 w 1624"/>
                <a:gd name="T3" fmla="*/ 1288 h 1867"/>
                <a:gd name="T4" fmla="*/ 938 w 1624"/>
                <a:gd name="T5" fmla="*/ 1051 h 1867"/>
                <a:gd name="T6" fmla="*/ 1106 w 1624"/>
                <a:gd name="T7" fmla="*/ 731 h 1867"/>
                <a:gd name="T8" fmla="*/ 1059 w 1624"/>
                <a:gd name="T9" fmla="*/ 645 h 1867"/>
                <a:gd name="T10" fmla="*/ 1001 w 1624"/>
                <a:gd name="T11" fmla="*/ 613 h 1867"/>
                <a:gd name="T12" fmla="*/ 924 w 1624"/>
                <a:gd name="T13" fmla="*/ 432 h 1867"/>
                <a:gd name="T14" fmla="*/ 1114 w 1624"/>
                <a:gd name="T15" fmla="*/ 81 h 1867"/>
                <a:gd name="T16" fmla="*/ 1287 w 1624"/>
                <a:gd name="T17" fmla="*/ 35 h 1867"/>
                <a:gd name="T18" fmla="*/ 1350 w 1624"/>
                <a:gd name="T19" fmla="*/ 69 h 1867"/>
                <a:gd name="T20" fmla="*/ 1527 w 1624"/>
                <a:gd name="T21" fmla="*/ 235 h 1867"/>
                <a:gd name="T22" fmla="*/ 1583 w 1624"/>
                <a:gd name="T23" fmla="*/ 555 h 1867"/>
                <a:gd name="T24" fmla="*/ 1172 w 1624"/>
                <a:gd name="T25" fmla="*/ 1253 h 1867"/>
                <a:gd name="T26" fmla="*/ 586 w 1624"/>
                <a:gd name="T27" fmla="*/ 1803 h 1867"/>
                <a:gd name="T28" fmla="*/ 269 w 1624"/>
                <a:gd name="T29" fmla="*/ 1807 h 1867"/>
                <a:gd name="T30" fmla="*/ 33 w 1624"/>
                <a:gd name="T31" fmla="*/ 1602 h 1867"/>
                <a:gd name="T32" fmla="*/ 2 w 1624"/>
                <a:gd name="T33" fmla="*/ 1508 h 1867"/>
                <a:gd name="T34" fmla="*/ 45 w 1624"/>
                <a:gd name="T35" fmla="*/ 1421 h 1867"/>
                <a:gd name="T36" fmla="*/ 346 w 1624"/>
                <a:gd name="T37" fmla="*/ 1158 h 1867"/>
                <a:gd name="T38" fmla="*/ 448 w 1624"/>
                <a:gd name="T39" fmla="*/ 1145 h 1867"/>
                <a:gd name="T40" fmla="*/ 573 w 1624"/>
                <a:gd name="T41" fmla="*/ 1257 h 1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4" h="1867">
                  <a:moveTo>
                    <a:pt x="573" y="1257"/>
                  </a:moveTo>
                  <a:cubicBezTo>
                    <a:pt x="592" y="1282"/>
                    <a:pt x="630" y="1303"/>
                    <a:pt x="662" y="1288"/>
                  </a:cubicBezTo>
                  <a:cubicBezTo>
                    <a:pt x="753" y="1245"/>
                    <a:pt x="854" y="1156"/>
                    <a:pt x="938" y="1051"/>
                  </a:cubicBezTo>
                  <a:cubicBezTo>
                    <a:pt x="1020" y="948"/>
                    <a:pt x="1084" y="831"/>
                    <a:pt x="1106" y="731"/>
                  </a:cubicBezTo>
                  <a:cubicBezTo>
                    <a:pt x="1113" y="696"/>
                    <a:pt x="1089" y="661"/>
                    <a:pt x="1059" y="645"/>
                  </a:cubicBezTo>
                  <a:cubicBezTo>
                    <a:pt x="1001" y="613"/>
                    <a:pt x="1001" y="613"/>
                    <a:pt x="1001" y="613"/>
                  </a:cubicBezTo>
                  <a:cubicBezTo>
                    <a:pt x="942" y="580"/>
                    <a:pt x="888" y="499"/>
                    <a:pt x="924" y="432"/>
                  </a:cubicBezTo>
                  <a:cubicBezTo>
                    <a:pt x="1114" y="81"/>
                    <a:pt x="1114" y="81"/>
                    <a:pt x="1114" y="81"/>
                  </a:cubicBezTo>
                  <a:cubicBezTo>
                    <a:pt x="1150" y="16"/>
                    <a:pt x="1224" y="0"/>
                    <a:pt x="1287" y="35"/>
                  </a:cubicBezTo>
                  <a:cubicBezTo>
                    <a:pt x="1350" y="69"/>
                    <a:pt x="1350" y="69"/>
                    <a:pt x="1350" y="69"/>
                  </a:cubicBezTo>
                  <a:cubicBezTo>
                    <a:pt x="1415" y="105"/>
                    <a:pt x="1479" y="165"/>
                    <a:pt x="1527" y="235"/>
                  </a:cubicBezTo>
                  <a:cubicBezTo>
                    <a:pt x="1593" y="332"/>
                    <a:pt x="1624" y="442"/>
                    <a:pt x="1583" y="555"/>
                  </a:cubicBezTo>
                  <a:cubicBezTo>
                    <a:pt x="1500" y="781"/>
                    <a:pt x="1351" y="1030"/>
                    <a:pt x="1172" y="1253"/>
                  </a:cubicBezTo>
                  <a:cubicBezTo>
                    <a:pt x="994" y="1477"/>
                    <a:pt x="786" y="1676"/>
                    <a:pt x="586" y="1803"/>
                  </a:cubicBezTo>
                  <a:cubicBezTo>
                    <a:pt x="486" y="1867"/>
                    <a:pt x="375" y="1856"/>
                    <a:pt x="269" y="1807"/>
                  </a:cubicBezTo>
                  <a:cubicBezTo>
                    <a:pt x="157" y="1755"/>
                    <a:pt x="106" y="1695"/>
                    <a:pt x="33" y="1602"/>
                  </a:cubicBezTo>
                  <a:cubicBezTo>
                    <a:pt x="11" y="1573"/>
                    <a:pt x="0" y="1540"/>
                    <a:pt x="2" y="1508"/>
                  </a:cubicBezTo>
                  <a:cubicBezTo>
                    <a:pt x="4" y="1475"/>
                    <a:pt x="18" y="1444"/>
                    <a:pt x="45" y="1421"/>
                  </a:cubicBezTo>
                  <a:cubicBezTo>
                    <a:pt x="70" y="1399"/>
                    <a:pt x="346" y="1158"/>
                    <a:pt x="346" y="1158"/>
                  </a:cubicBezTo>
                  <a:cubicBezTo>
                    <a:pt x="376" y="1134"/>
                    <a:pt x="413" y="1133"/>
                    <a:pt x="448" y="1145"/>
                  </a:cubicBezTo>
                  <a:cubicBezTo>
                    <a:pt x="510" y="1166"/>
                    <a:pt x="536" y="1210"/>
                    <a:pt x="573" y="12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</p:grpSp>
      <p:grpSp>
        <p:nvGrpSpPr>
          <p:cNvPr id="38" name="Group 3">
            <a:extLst>
              <a:ext uri="{FF2B5EF4-FFF2-40B4-BE49-F238E27FC236}">
                <a16:creationId xmlns:a16="http://schemas.microsoft.com/office/drawing/2014/main" id="{7104BADD-8CD1-6F4A-B894-869C3BDB3EEB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3770066" y="5330827"/>
            <a:ext cx="171180" cy="171180"/>
            <a:chOff x="328396" y="5313940"/>
            <a:chExt cx="720000" cy="720000"/>
          </a:xfrm>
        </p:grpSpPr>
        <p:sp>
          <p:nvSpPr>
            <p:cNvPr id="39" name="Rectangle 4">
              <a:extLst>
                <a:ext uri="{FF2B5EF4-FFF2-40B4-BE49-F238E27FC236}">
                  <a16:creationId xmlns:a16="http://schemas.microsoft.com/office/drawing/2014/main" id="{74BE3D5F-1445-6E40-8B49-72E15568383B}"/>
                </a:ext>
              </a:extLst>
            </p:cNvPr>
            <p:cNvSpPr/>
            <p:nvPr/>
          </p:nvSpPr>
          <p:spPr bwMode="gray">
            <a:xfrm>
              <a:off x="328396" y="5313940"/>
              <a:ext cx="720000" cy="720000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Freeform 76">
              <a:extLst>
                <a:ext uri="{FF2B5EF4-FFF2-40B4-BE49-F238E27FC236}">
                  <a16:creationId xmlns:a16="http://schemas.microsoft.com/office/drawing/2014/main" id="{55DB3C95-7D0C-D141-901E-96D692794D2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56202" y="5509222"/>
              <a:ext cx="504000" cy="329436"/>
            </a:xfrm>
            <a:custGeom>
              <a:avLst/>
              <a:gdLst>
                <a:gd name="T0" fmla="*/ 0 w 2080"/>
                <a:gd name="T1" fmla="*/ 65 h 1360"/>
                <a:gd name="T2" fmla="*/ 0 w 2080"/>
                <a:gd name="T3" fmla="*/ 0 h 1360"/>
                <a:gd name="T4" fmla="*/ 2080 w 2080"/>
                <a:gd name="T5" fmla="*/ 0 h 1360"/>
                <a:gd name="T6" fmla="*/ 2080 w 2080"/>
                <a:gd name="T7" fmla="*/ 65 h 1360"/>
                <a:gd name="T8" fmla="*/ 1089 w 2080"/>
                <a:gd name="T9" fmla="*/ 862 h 1360"/>
                <a:gd name="T10" fmla="*/ 991 w 2080"/>
                <a:gd name="T11" fmla="*/ 862 h 1360"/>
                <a:gd name="T12" fmla="*/ 0 w 2080"/>
                <a:gd name="T13" fmla="*/ 65 h 1360"/>
                <a:gd name="T14" fmla="*/ 1139 w 2080"/>
                <a:gd name="T15" fmla="*/ 924 h 1360"/>
                <a:gd name="T16" fmla="*/ 1282 w 2080"/>
                <a:gd name="T17" fmla="*/ 810 h 1360"/>
                <a:gd name="T18" fmla="*/ 2076 w 2080"/>
                <a:gd name="T19" fmla="*/ 1360 h 1360"/>
                <a:gd name="T20" fmla="*/ 4 w 2080"/>
                <a:gd name="T21" fmla="*/ 1360 h 1360"/>
                <a:gd name="T22" fmla="*/ 798 w 2080"/>
                <a:gd name="T23" fmla="*/ 810 h 1360"/>
                <a:gd name="T24" fmla="*/ 941 w 2080"/>
                <a:gd name="T25" fmla="*/ 924 h 1360"/>
                <a:gd name="T26" fmla="*/ 1139 w 2080"/>
                <a:gd name="T27" fmla="*/ 924 h 1360"/>
                <a:gd name="T28" fmla="*/ 2 w 2080"/>
                <a:gd name="T29" fmla="*/ 137 h 1360"/>
                <a:gd name="T30" fmla="*/ 42 w 2080"/>
                <a:gd name="T31" fmla="*/ 201 h 1360"/>
                <a:gd name="T32" fmla="*/ 734 w 2080"/>
                <a:gd name="T33" fmla="*/ 758 h 1360"/>
                <a:gd name="T34" fmla="*/ 0 w 2080"/>
                <a:gd name="T35" fmla="*/ 1266 h 1360"/>
                <a:gd name="T36" fmla="*/ 0 w 2080"/>
                <a:gd name="T37" fmla="*/ 135 h 1360"/>
                <a:gd name="T38" fmla="*/ 2 w 2080"/>
                <a:gd name="T39" fmla="*/ 137 h 1360"/>
                <a:gd name="T40" fmla="*/ 2080 w 2080"/>
                <a:gd name="T41" fmla="*/ 136 h 1360"/>
                <a:gd name="T42" fmla="*/ 2080 w 2080"/>
                <a:gd name="T43" fmla="*/ 1265 h 1360"/>
                <a:gd name="T44" fmla="*/ 1346 w 2080"/>
                <a:gd name="T45" fmla="*/ 758 h 1360"/>
                <a:gd name="T46" fmla="*/ 2038 w 2080"/>
                <a:gd name="T47" fmla="*/ 201 h 1360"/>
                <a:gd name="T48" fmla="*/ 2080 w 2080"/>
                <a:gd name="T49" fmla="*/ 136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80" h="1360">
                  <a:moveTo>
                    <a:pt x="0" y="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80" y="0"/>
                    <a:pt x="2080" y="0"/>
                    <a:pt x="2080" y="0"/>
                  </a:cubicBezTo>
                  <a:cubicBezTo>
                    <a:pt x="2080" y="65"/>
                    <a:pt x="2080" y="65"/>
                    <a:pt x="2080" y="65"/>
                  </a:cubicBezTo>
                  <a:cubicBezTo>
                    <a:pt x="1089" y="862"/>
                    <a:pt x="1089" y="862"/>
                    <a:pt x="1089" y="862"/>
                  </a:cubicBezTo>
                  <a:cubicBezTo>
                    <a:pt x="1060" y="886"/>
                    <a:pt x="1020" y="886"/>
                    <a:pt x="991" y="862"/>
                  </a:cubicBezTo>
                  <a:lnTo>
                    <a:pt x="0" y="65"/>
                  </a:lnTo>
                  <a:close/>
                  <a:moveTo>
                    <a:pt x="1139" y="924"/>
                  </a:moveTo>
                  <a:cubicBezTo>
                    <a:pt x="1282" y="810"/>
                    <a:pt x="1282" y="810"/>
                    <a:pt x="1282" y="810"/>
                  </a:cubicBezTo>
                  <a:cubicBezTo>
                    <a:pt x="2076" y="1360"/>
                    <a:pt x="2076" y="1360"/>
                    <a:pt x="2076" y="1360"/>
                  </a:cubicBezTo>
                  <a:cubicBezTo>
                    <a:pt x="4" y="1360"/>
                    <a:pt x="4" y="1360"/>
                    <a:pt x="4" y="1360"/>
                  </a:cubicBezTo>
                  <a:cubicBezTo>
                    <a:pt x="798" y="810"/>
                    <a:pt x="798" y="810"/>
                    <a:pt x="798" y="810"/>
                  </a:cubicBezTo>
                  <a:cubicBezTo>
                    <a:pt x="941" y="924"/>
                    <a:pt x="941" y="924"/>
                    <a:pt x="941" y="924"/>
                  </a:cubicBezTo>
                  <a:cubicBezTo>
                    <a:pt x="1000" y="972"/>
                    <a:pt x="1080" y="972"/>
                    <a:pt x="1139" y="924"/>
                  </a:cubicBezTo>
                  <a:close/>
                  <a:moveTo>
                    <a:pt x="2" y="137"/>
                  </a:moveTo>
                  <a:cubicBezTo>
                    <a:pt x="8" y="163"/>
                    <a:pt x="22" y="185"/>
                    <a:pt x="42" y="201"/>
                  </a:cubicBezTo>
                  <a:cubicBezTo>
                    <a:pt x="734" y="758"/>
                    <a:pt x="734" y="758"/>
                    <a:pt x="734" y="758"/>
                  </a:cubicBezTo>
                  <a:cubicBezTo>
                    <a:pt x="0" y="1266"/>
                    <a:pt x="0" y="1266"/>
                    <a:pt x="0" y="1266"/>
                  </a:cubicBezTo>
                  <a:cubicBezTo>
                    <a:pt x="0" y="135"/>
                    <a:pt x="0" y="135"/>
                    <a:pt x="0" y="135"/>
                  </a:cubicBezTo>
                  <a:lnTo>
                    <a:pt x="2" y="137"/>
                  </a:lnTo>
                  <a:close/>
                  <a:moveTo>
                    <a:pt x="2080" y="136"/>
                  </a:moveTo>
                  <a:cubicBezTo>
                    <a:pt x="2080" y="1265"/>
                    <a:pt x="2080" y="1265"/>
                    <a:pt x="2080" y="1265"/>
                  </a:cubicBezTo>
                  <a:cubicBezTo>
                    <a:pt x="1346" y="758"/>
                    <a:pt x="1346" y="758"/>
                    <a:pt x="1346" y="758"/>
                  </a:cubicBezTo>
                  <a:cubicBezTo>
                    <a:pt x="2038" y="201"/>
                    <a:pt x="2038" y="201"/>
                    <a:pt x="2038" y="201"/>
                  </a:cubicBezTo>
                  <a:cubicBezTo>
                    <a:pt x="2060" y="182"/>
                    <a:pt x="2072" y="162"/>
                    <a:pt x="2080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</p:grpSp>
      <p:cxnSp>
        <p:nvCxnSpPr>
          <p:cNvPr id="41" name="Straight Connector 40"/>
          <p:cNvCxnSpPr/>
          <p:nvPr/>
        </p:nvCxnSpPr>
        <p:spPr>
          <a:xfrm>
            <a:off x="2355914" y="5655833"/>
            <a:ext cx="388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Picture Placeholder 3"/>
          <p:cNvSpPr>
            <a:spLocks noGrp="1"/>
          </p:cNvSpPr>
          <p:nvPr>
            <p:ph type="pic" sz="quarter" idx="29" hasCustomPrompt="1"/>
          </p:nvPr>
        </p:nvSpPr>
        <p:spPr>
          <a:xfrm>
            <a:off x="2355914" y="3986604"/>
            <a:ext cx="1188677" cy="1547840"/>
          </a:xfr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30" hasCustomPrompt="1"/>
          </p:nvPr>
        </p:nvSpPr>
        <p:spPr>
          <a:xfrm>
            <a:off x="3770065" y="3986141"/>
            <a:ext cx="2463190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770065" y="4197957"/>
            <a:ext cx="2463190" cy="266182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Name, Surname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32" hasCustomPrompt="1"/>
          </p:nvPr>
        </p:nvSpPr>
        <p:spPr>
          <a:xfrm>
            <a:off x="3770065" y="4494532"/>
            <a:ext cx="2463190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Job Position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4014948" y="5023208"/>
            <a:ext cx="2218307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Phone number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4014948" y="5306015"/>
            <a:ext cx="2218307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Email address</a:t>
            </a:r>
          </a:p>
        </p:txBody>
      </p:sp>
    </p:spTree>
    <p:extLst>
      <p:ext uri="{BB962C8B-B14F-4D97-AF65-F5344CB8AC3E}">
        <p14:creationId xmlns:p14="http://schemas.microsoft.com/office/powerpoint/2010/main" val="11320016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20"/>
          <p:cNvSpPr>
            <a:spLocks noGrp="1"/>
          </p:cNvSpPr>
          <p:nvPr>
            <p:ph type="dt" sz="half" idx="14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/>
          <a:p>
            <a:fld id="{279C7CF9-AE45-4637-9DF5-AFC713D6D2FE}" type="datetime5">
              <a:rPr lang="en-US" smtClean="0"/>
              <a:t>18-Nov-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5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F3E29E4-0979-4FCA-B4C5-5FC6044C982A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contact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1075061" y="964671"/>
            <a:ext cx="7910158" cy="490042"/>
          </a:xfrm>
        </p:spPr>
        <p:txBody>
          <a:bodyPr wrap="none"/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grpSp>
        <p:nvGrpSpPr>
          <p:cNvPr id="8" name="Gruppieren 80">
            <a:extLst>
              <a:ext uri="{FF2B5EF4-FFF2-40B4-BE49-F238E27FC236}">
                <a16:creationId xmlns:a16="http://schemas.microsoft.com/office/drawing/2014/main" id="{6B969E7B-9C39-4443-9B02-74C1E7C5CCAC}"/>
              </a:ext>
            </a:extLst>
          </p:cNvPr>
          <p:cNvGrpSpPr/>
          <p:nvPr/>
        </p:nvGrpSpPr>
        <p:grpSpPr>
          <a:xfrm>
            <a:off x="3770065" y="2868319"/>
            <a:ext cx="171180" cy="171180"/>
            <a:chOff x="3392092" y="1841122"/>
            <a:chExt cx="646508" cy="646508"/>
          </a:xfrm>
        </p:grpSpPr>
        <p:sp>
          <p:nvSpPr>
            <p:cNvPr id="9" name="Rechteck 14">
              <a:extLst>
                <a:ext uri="{FF2B5EF4-FFF2-40B4-BE49-F238E27FC236}">
                  <a16:creationId xmlns:a16="http://schemas.microsoft.com/office/drawing/2014/main" id="{D78F58EA-5525-8D43-8295-FEA52ECF6BF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392092" y="1841122"/>
              <a:ext cx="646508" cy="646508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Freeform 67">
              <a:extLst>
                <a:ext uri="{FF2B5EF4-FFF2-40B4-BE49-F238E27FC236}">
                  <a16:creationId xmlns:a16="http://schemas.microsoft.com/office/drawing/2014/main" id="{D01A6292-2776-4945-B828-483D79DC490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46638" y="1970424"/>
              <a:ext cx="337415" cy="387905"/>
            </a:xfrm>
            <a:custGeom>
              <a:avLst/>
              <a:gdLst>
                <a:gd name="T0" fmla="*/ 573 w 1624"/>
                <a:gd name="T1" fmla="*/ 1257 h 1867"/>
                <a:gd name="T2" fmla="*/ 662 w 1624"/>
                <a:gd name="T3" fmla="*/ 1288 h 1867"/>
                <a:gd name="T4" fmla="*/ 938 w 1624"/>
                <a:gd name="T5" fmla="*/ 1051 h 1867"/>
                <a:gd name="T6" fmla="*/ 1106 w 1624"/>
                <a:gd name="T7" fmla="*/ 731 h 1867"/>
                <a:gd name="T8" fmla="*/ 1059 w 1624"/>
                <a:gd name="T9" fmla="*/ 645 h 1867"/>
                <a:gd name="T10" fmla="*/ 1001 w 1624"/>
                <a:gd name="T11" fmla="*/ 613 h 1867"/>
                <a:gd name="T12" fmla="*/ 924 w 1624"/>
                <a:gd name="T13" fmla="*/ 432 h 1867"/>
                <a:gd name="T14" fmla="*/ 1114 w 1624"/>
                <a:gd name="T15" fmla="*/ 81 h 1867"/>
                <a:gd name="T16" fmla="*/ 1287 w 1624"/>
                <a:gd name="T17" fmla="*/ 35 h 1867"/>
                <a:gd name="T18" fmla="*/ 1350 w 1624"/>
                <a:gd name="T19" fmla="*/ 69 h 1867"/>
                <a:gd name="T20" fmla="*/ 1527 w 1624"/>
                <a:gd name="T21" fmla="*/ 235 h 1867"/>
                <a:gd name="T22" fmla="*/ 1583 w 1624"/>
                <a:gd name="T23" fmla="*/ 555 h 1867"/>
                <a:gd name="T24" fmla="*/ 1172 w 1624"/>
                <a:gd name="T25" fmla="*/ 1253 h 1867"/>
                <a:gd name="T26" fmla="*/ 586 w 1624"/>
                <a:gd name="T27" fmla="*/ 1803 h 1867"/>
                <a:gd name="T28" fmla="*/ 269 w 1624"/>
                <a:gd name="T29" fmla="*/ 1807 h 1867"/>
                <a:gd name="T30" fmla="*/ 33 w 1624"/>
                <a:gd name="T31" fmla="*/ 1602 h 1867"/>
                <a:gd name="T32" fmla="*/ 2 w 1624"/>
                <a:gd name="T33" fmla="*/ 1508 h 1867"/>
                <a:gd name="T34" fmla="*/ 45 w 1624"/>
                <a:gd name="T35" fmla="*/ 1421 h 1867"/>
                <a:gd name="T36" fmla="*/ 346 w 1624"/>
                <a:gd name="T37" fmla="*/ 1158 h 1867"/>
                <a:gd name="T38" fmla="*/ 448 w 1624"/>
                <a:gd name="T39" fmla="*/ 1145 h 1867"/>
                <a:gd name="T40" fmla="*/ 573 w 1624"/>
                <a:gd name="T41" fmla="*/ 1257 h 1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4" h="1867">
                  <a:moveTo>
                    <a:pt x="573" y="1257"/>
                  </a:moveTo>
                  <a:cubicBezTo>
                    <a:pt x="592" y="1282"/>
                    <a:pt x="630" y="1303"/>
                    <a:pt x="662" y="1288"/>
                  </a:cubicBezTo>
                  <a:cubicBezTo>
                    <a:pt x="753" y="1245"/>
                    <a:pt x="854" y="1156"/>
                    <a:pt x="938" y="1051"/>
                  </a:cubicBezTo>
                  <a:cubicBezTo>
                    <a:pt x="1020" y="948"/>
                    <a:pt x="1084" y="831"/>
                    <a:pt x="1106" y="731"/>
                  </a:cubicBezTo>
                  <a:cubicBezTo>
                    <a:pt x="1113" y="696"/>
                    <a:pt x="1089" y="661"/>
                    <a:pt x="1059" y="645"/>
                  </a:cubicBezTo>
                  <a:cubicBezTo>
                    <a:pt x="1001" y="613"/>
                    <a:pt x="1001" y="613"/>
                    <a:pt x="1001" y="613"/>
                  </a:cubicBezTo>
                  <a:cubicBezTo>
                    <a:pt x="942" y="580"/>
                    <a:pt x="888" y="499"/>
                    <a:pt x="924" y="432"/>
                  </a:cubicBezTo>
                  <a:cubicBezTo>
                    <a:pt x="1114" y="81"/>
                    <a:pt x="1114" y="81"/>
                    <a:pt x="1114" y="81"/>
                  </a:cubicBezTo>
                  <a:cubicBezTo>
                    <a:pt x="1150" y="16"/>
                    <a:pt x="1224" y="0"/>
                    <a:pt x="1287" y="35"/>
                  </a:cubicBezTo>
                  <a:cubicBezTo>
                    <a:pt x="1350" y="69"/>
                    <a:pt x="1350" y="69"/>
                    <a:pt x="1350" y="69"/>
                  </a:cubicBezTo>
                  <a:cubicBezTo>
                    <a:pt x="1415" y="105"/>
                    <a:pt x="1479" y="165"/>
                    <a:pt x="1527" y="235"/>
                  </a:cubicBezTo>
                  <a:cubicBezTo>
                    <a:pt x="1593" y="332"/>
                    <a:pt x="1624" y="442"/>
                    <a:pt x="1583" y="555"/>
                  </a:cubicBezTo>
                  <a:cubicBezTo>
                    <a:pt x="1500" y="781"/>
                    <a:pt x="1351" y="1030"/>
                    <a:pt x="1172" y="1253"/>
                  </a:cubicBezTo>
                  <a:cubicBezTo>
                    <a:pt x="994" y="1477"/>
                    <a:pt x="786" y="1676"/>
                    <a:pt x="586" y="1803"/>
                  </a:cubicBezTo>
                  <a:cubicBezTo>
                    <a:pt x="486" y="1867"/>
                    <a:pt x="375" y="1856"/>
                    <a:pt x="269" y="1807"/>
                  </a:cubicBezTo>
                  <a:cubicBezTo>
                    <a:pt x="157" y="1755"/>
                    <a:pt x="106" y="1695"/>
                    <a:pt x="33" y="1602"/>
                  </a:cubicBezTo>
                  <a:cubicBezTo>
                    <a:pt x="11" y="1573"/>
                    <a:pt x="0" y="1540"/>
                    <a:pt x="2" y="1508"/>
                  </a:cubicBezTo>
                  <a:cubicBezTo>
                    <a:pt x="4" y="1475"/>
                    <a:pt x="18" y="1444"/>
                    <a:pt x="45" y="1421"/>
                  </a:cubicBezTo>
                  <a:cubicBezTo>
                    <a:pt x="70" y="1399"/>
                    <a:pt x="346" y="1158"/>
                    <a:pt x="346" y="1158"/>
                  </a:cubicBezTo>
                  <a:cubicBezTo>
                    <a:pt x="376" y="1134"/>
                    <a:pt x="413" y="1133"/>
                    <a:pt x="448" y="1145"/>
                  </a:cubicBezTo>
                  <a:cubicBezTo>
                    <a:pt x="510" y="1166"/>
                    <a:pt x="536" y="1210"/>
                    <a:pt x="573" y="12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</p:grpSp>
      <p:grpSp>
        <p:nvGrpSpPr>
          <p:cNvPr id="11" name="Group 3">
            <a:extLst>
              <a:ext uri="{FF2B5EF4-FFF2-40B4-BE49-F238E27FC236}">
                <a16:creationId xmlns:a16="http://schemas.microsoft.com/office/drawing/2014/main" id="{DED6A25A-5DE2-1441-8BA2-C68D3B4F9209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770066" y="3153207"/>
            <a:ext cx="171180" cy="171180"/>
            <a:chOff x="328396" y="5313940"/>
            <a:chExt cx="720000" cy="720000"/>
          </a:xfrm>
        </p:grpSpPr>
        <p:sp>
          <p:nvSpPr>
            <p:cNvPr id="12" name="Rectangle 4">
              <a:extLst>
                <a:ext uri="{FF2B5EF4-FFF2-40B4-BE49-F238E27FC236}">
                  <a16:creationId xmlns:a16="http://schemas.microsoft.com/office/drawing/2014/main" id="{5F49E67F-D4FA-9D48-96BC-59AE946ECD15}"/>
                </a:ext>
              </a:extLst>
            </p:cNvPr>
            <p:cNvSpPr/>
            <p:nvPr/>
          </p:nvSpPr>
          <p:spPr bwMode="gray">
            <a:xfrm>
              <a:off x="328396" y="5313940"/>
              <a:ext cx="720000" cy="720000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Freeform 76">
              <a:extLst>
                <a:ext uri="{FF2B5EF4-FFF2-40B4-BE49-F238E27FC236}">
                  <a16:creationId xmlns:a16="http://schemas.microsoft.com/office/drawing/2014/main" id="{187E70E6-AF3F-2549-908E-DF4BA61040A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56202" y="5509222"/>
              <a:ext cx="504000" cy="329436"/>
            </a:xfrm>
            <a:custGeom>
              <a:avLst/>
              <a:gdLst>
                <a:gd name="T0" fmla="*/ 0 w 2080"/>
                <a:gd name="T1" fmla="*/ 65 h 1360"/>
                <a:gd name="T2" fmla="*/ 0 w 2080"/>
                <a:gd name="T3" fmla="*/ 0 h 1360"/>
                <a:gd name="T4" fmla="*/ 2080 w 2080"/>
                <a:gd name="T5" fmla="*/ 0 h 1360"/>
                <a:gd name="T6" fmla="*/ 2080 w 2080"/>
                <a:gd name="T7" fmla="*/ 65 h 1360"/>
                <a:gd name="T8" fmla="*/ 1089 w 2080"/>
                <a:gd name="T9" fmla="*/ 862 h 1360"/>
                <a:gd name="T10" fmla="*/ 991 w 2080"/>
                <a:gd name="T11" fmla="*/ 862 h 1360"/>
                <a:gd name="T12" fmla="*/ 0 w 2080"/>
                <a:gd name="T13" fmla="*/ 65 h 1360"/>
                <a:gd name="T14" fmla="*/ 1139 w 2080"/>
                <a:gd name="T15" fmla="*/ 924 h 1360"/>
                <a:gd name="T16" fmla="*/ 1282 w 2080"/>
                <a:gd name="T17" fmla="*/ 810 h 1360"/>
                <a:gd name="T18" fmla="*/ 2076 w 2080"/>
                <a:gd name="T19" fmla="*/ 1360 h 1360"/>
                <a:gd name="T20" fmla="*/ 4 w 2080"/>
                <a:gd name="T21" fmla="*/ 1360 h 1360"/>
                <a:gd name="T22" fmla="*/ 798 w 2080"/>
                <a:gd name="T23" fmla="*/ 810 h 1360"/>
                <a:gd name="T24" fmla="*/ 941 w 2080"/>
                <a:gd name="T25" fmla="*/ 924 h 1360"/>
                <a:gd name="T26" fmla="*/ 1139 w 2080"/>
                <a:gd name="T27" fmla="*/ 924 h 1360"/>
                <a:gd name="T28" fmla="*/ 2 w 2080"/>
                <a:gd name="T29" fmla="*/ 137 h 1360"/>
                <a:gd name="T30" fmla="*/ 42 w 2080"/>
                <a:gd name="T31" fmla="*/ 201 h 1360"/>
                <a:gd name="T32" fmla="*/ 734 w 2080"/>
                <a:gd name="T33" fmla="*/ 758 h 1360"/>
                <a:gd name="T34" fmla="*/ 0 w 2080"/>
                <a:gd name="T35" fmla="*/ 1266 h 1360"/>
                <a:gd name="T36" fmla="*/ 0 w 2080"/>
                <a:gd name="T37" fmla="*/ 135 h 1360"/>
                <a:gd name="T38" fmla="*/ 2 w 2080"/>
                <a:gd name="T39" fmla="*/ 137 h 1360"/>
                <a:gd name="T40" fmla="*/ 2080 w 2080"/>
                <a:gd name="T41" fmla="*/ 136 h 1360"/>
                <a:gd name="T42" fmla="*/ 2080 w 2080"/>
                <a:gd name="T43" fmla="*/ 1265 h 1360"/>
                <a:gd name="T44" fmla="*/ 1346 w 2080"/>
                <a:gd name="T45" fmla="*/ 758 h 1360"/>
                <a:gd name="T46" fmla="*/ 2038 w 2080"/>
                <a:gd name="T47" fmla="*/ 201 h 1360"/>
                <a:gd name="T48" fmla="*/ 2080 w 2080"/>
                <a:gd name="T49" fmla="*/ 136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80" h="1360">
                  <a:moveTo>
                    <a:pt x="0" y="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80" y="0"/>
                    <a:pt x="2080" y="0"/>
                    <a:pt x="2080" y="0"/>
                  </a:cubicBezTo>
                  <a:cubicBezTo>
                    <a:pt x="2080" y="65"/>
                    <a:pt x="2080" y="65"/>
                    <a:pt x="2080" y="65"/>
                  </a:cubicBezTo>
                  <a:cubicBezTo>
                    <a:pt x="1089" y="862"/>
                    <a:pt x="1089" y="862"/>
                    <a:pt x="1089" y="862"/>
                  </a:cubicBezTo>
                  <a:cubicBezTo>
                    <a:pt x="1060" y="886"/>
                    <a:pt x="1020" y="886"/>
                    <a:pt x="991" y="862"/>
                  </a:cubicBezTo>
                  <a:lnTo>
                    <a:pt x="0" y="65"/>
                  </a:lnTo>
                  <a:close/>
                  <a:moveTo>
                    <a:pt x="1139" y="924"/>
                  </a:moveTo>
                  <a:cubicBezTo>
                    <a:pt x="1282" y="810"/>
                    <a:pt x="1282" y="810"/>
                    <a:pt x="1282" y="810"/>
                  </a:cubicBezTo>
                  <a:cubicBezTo>
                    <a:pt x="2076" y="1360"/>
                    <a:pt x="2076" y="1360"/>
                    <a:pt x="2076" y="1360"/>
                  </a:cubicBezTo>
                  <a:cubicBezTo>
                    <a:pt x="4" y="1360"/>
                    <a:pt x="4" y="1360"/>
                    <a:pt x="4" y="1360"/>
                  </a:cubicBezTo>
                  <a:cubicBezTo>
                    <a:pt x="798" y="810"/>
                    <a:pt x="798" y="810"/>
                    <a:pt x="798" y="810"/>
                  </a:cubicBezTo>
                  <a:cubicBezTo>
                    <a:pt x="941" y="924"/>
                    <a:pt x="941" y="924"/>
                    <a:pt x="941" y="924"/>
                  </a:cubicBezTo>
                  <a:cubicBezTo>
                    <a:pt x="1000" y="972"/>
                    <a:pt x="1080" y="972"/>
                    <a:pt x="1139" y="924"/>
                  </a:cubicBezTo>
                  <a:close/>
                  <a:moveTo>
                    <a:pt x="2" y="137"/>
                  </a:moveTo>
                  <a:cubicBezTo>
                    <a:pt x="8" y="163"/>
                    <a:pt x="22" y="185"/>
                    <a:pt x="42" y="201"/>
                  </a:cubicBezTo>
                  <a:cubicBezTo>
                    <a:pt x="734" y="758"/>
                    <a:pt x="734" y="758"/>
                    <a:pt x="734" y="758"/>
                  </a:cubicBezTo>
                  <a:cubicBezTo>
                    <a:pt x="0" y="1266"/>
                    <a:pt x="0" y="1266"/>
                    <a:pt x="0" y="1266"/>
                  </a:cubicBezTo>
                  <a:cubicBezTo>
                    <a:pt x="0" y="135"/>
                    <a:pt x="0" y="135"/>
                    <a:pt x="0" y="135"/>
                  </a:cubicBezTo>
                  <a:lnTo>
                    <a:pt x="2" y="137"/>
                  </a:lnTo>
                  <a:close/>
                  <a:moveTo>
                    <a:pt x="2080" y="136"/>
                  </a:moveTo>
                  <a:cubicBezTo>
                    <a:pt x="2080" y="1265"/>
                    <a:pt x="2080" y="1265"/>
                    <a:pt x="2080" y="1265"/>
                  </a:cubicBezTo>
                  <a:cubicBezTo>
                    <a:pt x="1346" y="758"/>
                    <a:pt x="1346" y="758"/>
                    <a:pt x="1346" y="758"/>
                  </a:cubicBezTo>
                  <a:cubicBezTo>
                    <a:pt x="2038" y="201"/>
                    <a:pt x="2038" y="201"/>
                    <a:pt x="2038" y="201"/>
                  </a:cubicBezTo>
                  <a:cubicBezTo>
                    <a:pt x="2060" y="182"/>
                    <a:pt x="2072" y="162"/>
                    <a:pt x="2080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</p:grpSp>
      <p:grpSp>
        <p:nvGrpSpPr>
          <p:cNvPr id="14" name="Gruppieren 2">
            <a:extLst>
              <a:ext uri="{FF2B5EF4-FFF2-40B4-BE49-F238E27FC236}">
                <a16:creationId xmlns:a16="http://schemas.microsoft.com/office/drawing/2014/main" id="{BE697CE9-EBDE-6B4A-BE70-582D92A8A831}"/>
              </a:ext>
            </a:extLst>
          </p:cNvPr>
          <p:cNvGrpSpPr/>
          <p:nvPr/>
        </p:nvGrpSpPr>
        <p:grpSpPr>
          <a:xfrm>
            <a:off x="8701917" y="2868319"/>
            <a:ext cx="171180" cy="171180"/>
            <a:chOff x="3392092" y="1841122"/>
            <a:chExt cx="646508" cy="646508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E142A731-19B7-C34D-9534-9E05108F895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392092" y="1841122"/>
              <a:ext cx="646508" cy="646508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F97E84AE-4AD9-4B44-9AA1-F797FC37380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46638" y="1970424"/>
              <a:ext cx="337415" cy="387905"/>
            </a:xfrm>
            <a:custGeom>
              <a:avLst/>
              <a:gdLst>
                <a:gd name="T0" fmla="*/ 573 w 1624"/>
                <a:gd name="T1" fmla="*/ 1257 h 1867"/>
                <a:gd name="T2" fmla="*/ 662 w 1624"/>
                <a:gd name="T3" fmla="*/ 1288 h 1867"/>
                <a:gd name="T4" fmla="*/ 938 w 1624"/>
                <a:gd name="T5" fmla="*/ 1051 h 1867"/>
                <a:gd name="T6" fmla="*/ 1106 w 1624"/>
                <a:gd name="T7" fmla="*/ 731 h 1867"/>
                <a:gd name="T8" fmla="*/ 1059 w 1624"/>
                <a:gd name="T9" fmla="*/ 645 h 1867"/>
                <a:gd name="T10" fmla="*/ 1001 w 1624"/>
                <a:gd name="T11" fmla="*/ 613 h 1867"/>
                <a:gd name="T12" fmla="*/ 924 w 1624"/>
                <a:gd name="T13" fmla="*/ 432 h 1867"/>
                <a:gd name="T14" fmla="*/ 1114 w 1624"/>
                <a:gd name="T15" fmla="*/ 81 h 1867"/>
                <a:gd name="T16" fmla="*/ 1287 w 1624"/>
                <a:gd name="T17" fmla="*/ 35 h 1867"/>
                <a:gd name="T18" fmla="*/ 1350 w 1624"/>
                <a:gd name="T19" fmla="*/ 69 h 1867"/>
                <a:gd name="T20" fmla="*/ 1527 w 1624"/>
                <a:gd name="T21" fmla="*/ 235 h 1867"/>
                <a:gd name="T22" fmla="*/ 1583 w 1624"/>
                <a:gd name="T23" fmla="*/ 555 h 1867"/>
                <a:gd name="T24" fmla="*/ 1172 w 1624"/>
                <a:gd name="T25" fmla="*/ 1253 h 1867"/>
                <a:gd name="T26" fmla="*/ 586 w 1624"/>
                <a:gd name="T27" fmla="*/ 1803 h 1867"/>
                <a:gd name="T28" fmla="*/ 269 w 1624"/>
                <a:gd name="T29" fmla="*/ 1807 h 1867"/>
                <a:gd name="T30" fmla="*/ 33 w 1624"/>
                <a:gd name="T31" fmla="*/ 1602 h 1867"/>
                <a:gd name="T32" fmla="*/ 2 w 1624"/>
                <a:gd name="T33" fmla="*/ 1508 h 1867"/>
                <a:gd name="T34" fmla="*/ 45 w 1624"/>
                <a:gd name="T35" fmla="*/ 1421 h 1867"/>
                <a:gd name="T36" fmla="*/ 346 w 1624"/>
                <a:gd name="T37" fmla="*/ 1158 h 1867"/>
                <a:gd name="T38" fmla="*/ 448 w 1624"/>
                <a:gd name="T39" fmla="*/ 1145 h 1867"/>
                <a:gd name="T40" fmla="*/ 573 w 1624"/>
                <a:gd name="T41" fmla="*/ 1257 h 1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4" h="1867">
                  <a:moveTo>
                    <a:pt x="573" y="1257"/>
                  </a:moveTo>
                  <a:cubicBezTo>
                    <a:pt x="592" y="1282"/>
                    <a:pt x="630" y="1303"/>
                    <a:pt x="662" y="1288"/>
                  </a:cubicBezTo>
                  <a:cubicBezTo>
                    <a:pt x="753" y="1245"/>
                    <a:pt x="854" y="1156"/>
                    <a:pt x="938" y="1051"/>
                  </a:cubicBezTo>
                  <a:cubicBezTo>
                    <a:pt x="1020" y="948"/>
                    <a:pt x="1084" y="831"/>
                    <a:pt x="1106" y="731"/>
                  </a:cubicBezTo>
                  <a:cubicBezTo>
                    <a:pt x="1113" y="696"/>
                    <a:pt x="1089" y="661"/>
                    <a:pt x="1059" y="645"/>
                  </a:cubicBezTo>
                  <a:cubicBezTo>
                    <a:pt x="1001" y="613"/>
                    <a:pt x="1001" y="613"/>
                    <a:pt x="1001" y="613"/>
                  </a:cubicBezTo>
                  <a:cubicBezTo>
                    <a:pt x="942" y="580"/>
                    <a:pt x="888" y="499"/>
                    <a:pt x="924" y="432"/>
                  </a:cubicBezTo>
                  <a:cubicBezTo>
                    <a:pt x="1114" y="81"/>
                    <a:pt x="1114" y="81"/>
                    <a:pt x="1114" y="81"/>
                  </a:cubicBezTo>
                  <a:cubicBezTo>
                    <a:pt x="1150" y="16"/>
                    <a:pt x="1224" y="0"/>
                    <a:pt x="1287" y="35"/>
                  </a:cubicBezTo>
                  <a:cubicBezTo>
                    <a:pt x="1350" y="69"/>
                    <a:pt x="1350" y="69"/>
                    <a:pt x="1350" y="69"/>
                  </a:cubicBezTo>
                  <a:cubicBezTo>
                    <a:pt x="1415" y="105"/>
                    <a:pt x="1479" y="165"/>
                    <a:pt x="1527" y="235"/>
                  </a:cubicBezTo>
                  <a:cubicBezTo>
                    <a:pt x="1593" y="332"/>
                    <a:pt x="1624" y="442"/>
                    <a:pt x="1583" y="555"/>
                  </a:cubicBezTo>
                  <a:cubicBezTo>
                    <a:pt x="1500" y="781"/>
                    <a:pt x="1351" y="1030"/>
                    <a:pt x="1172" y="1253"/>
                  </a:cubicBezTo>
                  <a:cubicBezTo>
                    <a:pt x="994" y="1477"/>
                    <a:pt x="786" y="1676"/>
                    <a:pt x="586" y="1803"/>
                  </a:cubicBezTo>
                  <a:cubicBezTo>
                    <a:pt x="486" y="1867"/>
                    <a:pt x="375" y="1856"/>
                    <a:pt x="269" y="1807"/>
                  </a:cubicBezTo>
                  <a:cubicBezTo>
                    <a:pt x="157" y="1755"/>
                    <a:pt x="106" y="1695"/>
                    <a:pt x="33" y="1602"/>
                  </a:cubicBezTo>
                  <a:cubicBezTo>
                    <a:pt x="11" y="1573"/>
                    <a:pt x="0" y="1540"/>
                    <a:pt x="2" y="1508"/>
                  </a:cubicBezTo>
                  <a:cubicBezTo>
                    <a:pt x="4" y="1475"/>
                    <a:pt x="18" y="1444"/>
                    <a:pt x="45" y="1421"/>
                  </a:cubicBezTo>
                  <a:cubicBezTo>
                    <a:pt x="70" y="1399"/>
                    <a:pt x="346" y="1158"/>
                    <a:pt x="346" y="1158"/>
                  </a:cubicBezTo>
                  <a:cubicBezTo>
                    <a:pt x="376" y="1134"/>
                    <a:pt x="413" y="1133"/>
                    <a:pt x="448" y="1145"/>
                  </a:cubicBezTo>
                  <a:cubicBezTo>
                    <a:pt x="510" y="1166"/>
                    <a:pt x="536" y="1210"/>
                    <a:pt x="573" y="12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</p:grpSp>
      <p:grpSp>
        <p:nvGrpSpPr>
          <p:cNvPr id="17" name="Group 3">
            <a:extLst>
              <a:ext uri="{FF2B5EF4-FFF2-40B4-BE49-F238E27FC236}">
                <a16:creationId xmlns:a16="http://schemas.microsoft.com/office/drawing/2014/main" id="{7104BADD-8CD1-6F4A-B894-869C3BDB3EEB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701918" y="3153207"/>
            <a:ext cx="171180" cy="171180"/>
            <a:chOff x="328396" y="5313940"/>
            <a:chExt cx="720000" cy="720000"/>
          </a:xfrm>
        </p:grpSpPr>
        <p:sp>
          <p:nvSpPr>
            <p:cNvPr id="18" name="Rectangle 4">
              <a:extLst>
                <a:ext uri="{FF2B5EF4-FFF2-40B4-BE49-F238E27FC236}">
                  <a16:creationId xmlns:a16="http://schemas.microsoft.com/office/drawing/2014/main" id="{74BE3D5F-1445-6E40-8B49-72E15568383B}"/>
                </a:ext>
              </a:extLst>
            </p:cNvPr>
            <p:cNvSpPr/>
            <p:nvPr/>
          </p:nvSpPr>
          <p:spPr bwMode="gray">
            <a:xfrm>
              <a:off x="328396" y="5313940"/>
              <a:ext cx="720000" cy="720000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Freeform 76">
              <a:extLst>
                <a:ext uri="{FF2B5EF4-FFF2-40B4-BE49-F238E27FC236}">
                  <a16:creationId xmlns:a16="http://schemas.microsoft.com/office/drawing/2014/main" id="{55DB3C95-7D0C-D141-901E-96D692794D2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56202" y="5509222"/>
              <a:ext cx="504000" cy="329436"/>
            </a:xfrm>
            <a:custGeom>
              <a:avLst/>
              <a:gdLst>
                <a:gd name="T0" fmla="*/ 0 w 2080"/>
                <a:gd name="T1" fmla="*/ 65 h 1360"/>
                <a:gd name="T2" fmla="*/ 0 w 2080"/>
                <a:gd name="T3" fmla="*/ 0 h 1360"/>
                <a:gd name="T4" fmla="*/ 2080 w 2080"/>
                <a:gd name="T5" fmla="*/ 0 h 1360"/>
                <a:gd name="T6" fmla="*/ 2080 w 2080"/>
                <a:gd name="T7" fmla="*/ 65 h 1360"/>
                <a:gd name="T8" fmla="*/ 1089 w 2080"/>
                <a:gd name="T9" fmla="*/ 862 h 1360"/>
                <a:gd name="T10" fmla="*/ 991 w 2080"/>
                <a:gd name="T11" fmla="*/ 862 h 1360"/>
                <a:gd name="T12" fmla="*/ 0 w 2080"/>
                <a:gd name="T13" fmla="*/ 65 h 1360"/>
                <a:gd name="T14" fmla="*/ 1139 w 2080"/>
                <a:gd name="T15" fmla="*/ 924 h 1360"/>
                <a:gd name="T16" fmla="*/ 1282 w 2080"/>
                <a:gd name="T17" fmla="*/ 810 h 1360"/>
                <a:gd name="T18" fmla="*/ 2076 w 2080"/>
                <a:gd name="T19" fmla="*/ 1360 h 1360"/>
                <a:gd name="T20" fmla="*/ 4 w 2080"/>
                <a:gd name="T21" fmla="*/ 1360 h 1360"/>
                <a:gd name="T22" fmla="*/ 798 w 2080"/>
                <a:gd name="T23" fmla="*/ 810 h 1360"/>
                <a:gd name="T24" fmla="*/ 941 w 2080"/>
                <a:gd name="T25" fmla="*/ 924 h 1360"/>
                <a:gd name="T26" fmla="*/ 1139 w 2080"/>
                <a:gd name="T27" fmla="*/ 924 h 1360"/>
                <a:gd name="T28" fmla="*/ 2 w 2080"/>
                <a:gd name="T29" fmla="*/ 137 h 1360"/>
                <a:gd name="T30" fmla="*/ 42 w 2080"/>
                <a:gd name="T31" fmla="*/ 201 h 1360"/>
                <a:gd name="T32" fmla="*/ 734 w 2080"/>
                <a:gd name="T33" fmla="*/ 758 h 1360"/>
                <a:gd name="T34" fmla="*/ 0 w 2080"/>
                <a:gd name="T35" fmla="*/ 1266 h 1360"/>
                <a:gd name="T36" fmla="*/ 0 w 2080"/>
                <a:gd name="T37" fmla="*/ 135 h 1360"/>
                <a:gd name="T38" fmla="*/ 2 w 2080"/>
                <a:gd name="T39" fmla="*/ 137 h 1360"/>
                <a:gd name="T40" fmla="*/ 2080 w 2080"/>
                <a:gd name="T41" fmla="*/ 136 h 1360"/>
                <a:gd name="T42" fmla="*/ 2080 w 2080"/>
                <a:gd name="T43" fmla="*/ 1265 h 1360"/>
                <a:gd name="T44" fmla="*/ 1346 w 2080"/>
                <a:gd name="T45" fmla="*/ 758 h 1360"/>
                <a:gd name="T46" fmla="*/ 2038 w 2080"/>
                <a:gd name="T47" fmla="*/ 201 h 1360"/>
                <a:gd name="T48" fmla="*/ 2080 w 2080"/>
                <a:gd name="T49" fmla="*/ 136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80" h="1360">
                  <a:moveTo>
                    <a:pt x="0" y="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80" y="0"/>
                    <a:pt x="2080" y="0"/>
                    <a:pt x="2080" y="0"/>
                  </a:cubicBezTo>
                  <a:cubicBezTo>
                    <a:pt x="2080" y="65"/>
                    <a:pt x="2080" y="65"/>
                    <a:pt x="2080" y="65"/>
                  </a:cubicBezTo>
                  <a:cubicBezTo>
                    <a:pt x="1089" y="862"/>
                    <a:pt x="1089" y="862"/>
                    <a:pt x="1089" y="862"/>
                  </a:cubicBezTo>
                  <a:cubicBezTo>
                    <a:pt x="1060" y="886"/>
                    <a:pt x="1020" y="886"/>
                    <a:pt x="991" y="862"/>
                  </a:cubicBezTo>
                  <a:lnTo>
                    <a:pt x="0" y="65"/>
                  </a:lnTo>
                  <a:close/>
                  <a:moveTo>
                    <a:pt x="1139" y="924"/>
                  </a:moveTo>
                  <a:cubicBezTo>
                    <a:pt x="1282" y="810"/>
                    <a:pt x="1282" y="810"/>
                    <a:pt x="1282" y="810"/>
                  </a:cubicBezTo>
                  <a:cubicBezTo>
                    <a:pt x="2076" y="1360"/>
                    <a:pt x="2076" y="1360"/>
                    <a:pt x="2076" y="1360"/>
                  </a:cubicBezTo>
                  <a:cubicBezTo>
                    <a:pt x="4" y="1360"/>
                    <a:pt x="4" y="1360"/>
                    <a:pt x="4" y="1360"/>
                  </a:cubicBezTo>
                  <a:cubicBezTo>
                    <a:pt x="798" y="810"/>
                    <a:pt x="798" y="810"/>
                    <a:pt x="798" y="810"/>
                  </a:cubicBezTo>
                  <a:cubicBezTo>
                    <a:pt x="941" y="924"/>
                    <a:pt x="941" y="924"/>
                    <a:pt x="941" y="924"/>
                  </a:cubicBezTo>
                  <a:cubicBezTo>
                    <a:pt x="1000" y="972"/>
                    <a:pt x="1080" y="972"/>
                    <a:pt x="1139" y="924"/>
                  </a:cubicBezTo>
                  <a:close/>
                  <a:moveTo>
                    <a:pt x="2" y="137"/>
                  </a:moveTo>
                  <a:cubicBezTo>
                    <a:pt x="8" y="163"/>
                    <a:pt x="22" y="185"/>
                    <a:pt x="42" y="201"/>
                  </a:cubicBezTo>
                  <a:cubicBezTo>
                    <a:pt x="734" y="758"/>
                    <a:pt x="734" y="758"/>
                    <a:pt x="734" y="758"/>
                  </a:cubicBezTo>
                  <a:cubicBezTo>
                    <a:pt x="0" y="1266"/>
                    <a:pt x="0" y="1266"/>
                    <a:pt x="0" y="1266"/>
                  </a:cubicBezTo>
                  <a:cubicBezTo>
                    <a:pt x="0" y="135"/>
                    <a:pt x="0" y="135"/>
                    <a:pt x="0" y="135"/>
                  </a:cubicBezTo>
                  <a:lnTo>
                    <a:pt x="2" y="137"/>
                  </a:lnTo>
                  <a:close/>
                  <a:moveTo>
                    <a:pt x="2080" y="136"/>
                  </a:moveTo>
                  <a:cubicBezTo>
                    <a:pt x="2080" y="1265"/>
                    <a:pt x="2080" y="1265"/>
                    <a:pt x="2080" y="1265"/>
                  </a:cubicBezTo>
                  <a:cubicBezTo>
                    <a:pt x="1346" y="758"/>
                    <a:pt x="1346" y="758"/>
                    <a:pt x="1346" y="758"/>
                  </a:cubicBezTo>
                  <a:cubicBezTo>
                    <a:pt x="2038" y="201"/>
                    <a:pt x="2038" y="201"/>
                    <a:pt x="2038" y="201"/>
                  </a:cubicBezTo>
                  <a:cubicBezTo>
                    <a:pt x="2060" y="182"/>
                    <a:pt x="2072" y="162"/>
                    <a:pt x="2080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</p:grpSp>
      <p:cxnSp>
        <p:nvCxnSpPr>
          <p:cNvPr id="20" name="Straight Connector 19"/>
          <p:cNvCxnSpPr/>
          <p:nvPr/>
        </p:nvCxnSpPr>
        <p:spPr>
          <a:xfrm>
            <a:off x="2371725" y="3478213"/>
            <a:ext cx="388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7287766" y="3478213"/>
            <a:ext cx="388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2355914" y="1808984"/>
            <a:ext cx="1188677" cy="1547840"/>
          </a:xfr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7287766" y="1808984"/>
            <a:ext cx="1188677" cy="1547840"/>
          </a:xfr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770065" y="1808521"/>
            <a:ext cx="2463190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770065" y="2020337"/>
            <a:ext cx="2463190" cy="266182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Name, Surname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3770065" y="2316912"/>
            <a:ext cx="2463190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Job Position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014948" y="2845588"/>
            <a:ext cx="2218307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Phone number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014948" y="3128395"/>
            <a:ext cx="2218307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Email address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8701917" y="1808521"/>
            <a:ext cx="2463190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8701917" y="2020337"/>
            <a:ext cx="2463190" cy="266182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Name, Surname</a:t>
            </a:r>
          </a:p>
        </p:txBody>
      </p:sp>
      <p:sp>
        <p:nvSpPr>
          <p:cNvPr id="32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8701917" y="2316912"/>
            <a:ext cx="2463190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Job Position</a:t>
            </a:r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8946800" y="2845588"/>
            <a:ext cx="2218307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Phone number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8946800" y="3128395"/>
            <a:ext cx="2218307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Email address</a:t>
            </a:r>
          </a:p>
        </p:txBody>
      </p:sp>
      <p:grpSp>
        <p:nvGrpSpPr>
          <p:cNvPr id="35" name="Gruppieren 2">
            <a:extLst>
              <a:ext uri="{FF2B5EF4-FFF2-40B4-BE49-F238E27FC236}">
                <a16:creationId xmlns:a16="http://schemas.microsoft.com/office/drawing/2014/main" id="{BE697CE9-EBDE-6B4A-BE70-582D92A8A831}"/>
              </a:ext>
            </a:extLst>
          </p:cNvPr>
          <p:cNvGrpSpPr/>
          <p:nvPr/>
        </p:nvGrpSpPr>
        <p:grpSpPr>
          <a:xfrm>
            <a:off x="3770065" y="5045939"/>
            <a:ext cx="171180" cy="171180"/>
            <a:chOff x="3392092" y="1841122"/>
            <a:chExt cx="646508" cy="646508"/>
          </a:xfrm>
        </p:grpSpPr>
        <p:sp>
          <p:nvSpPr>
            <p:cNvPr id="36" name="Rechteck 14">
              <a:extLst>
                <a:ext uri="{FF2B5EF4-FFF2-40B4-BE49-F238E27FC236}">
                  <a16:creationId xmlns:a16="http://schemas.microsoft.com/office/drawing/2014/main" id="{E142A731-19B7-C34D-9534-9E05108F895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392092" y="1841122"/>
              <a:ext cx="646508" cy="646508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F97E84AE-4AD9-4B44-9AA1-F797FC37380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46638" y="1970424"/>
              <a:ext cx="337415" cy="387905"/>
            </a:xfrm>
            <a:custGeom>
              <a:avLst/>
              <a:gdLst>
                <a:gd name="T0" fmla="*/ 573 w 1624"/>
                <a:gd name="T1" fmla="*/ 1257 h 1867"/>
                <a:gd name="T2" fmla="*/ 662 w 1624"/>
                <a:gd name="T3" fmla="*/ 1288 h 1867"/>
                <a:gd name="T4" fmla="*/ 938 w 1624"/>
                <a:gd name="T5" fmla="*/ 1051 h 1867"/>
                <a:gd name="T6" fmla="*/ 1106 w 1624"/>
                <a:gd name="T7" fmla="*/ 731 h 1867"/>
                <a:gd name="T8" fmla="*/ 1059 w 1624"/>
                <a:gd name="T9" fmla="*/ 645 h 1867"/>
                <a:gd name="T10" fmla="*/ 1001 w 1624"/>
                <a:gd name="T11" fmla="*/ 613 h 1867"/>
                <a:gd name="T12" fmla="*/ 924 w 1624"/>
                <a:gd name="T13" fmla="*/ 432 h 1867"/>
                <a:gd name="T14" fmla="*/ 1114 w 1624"/>
                <a:gd name="T15" fmla="*/ 81 h 1867"/>
                <a:gd name="T16" fmla="*/ 1287 w 1624"/>
                <a:gd name="T17" fmla="*/ 35 h 1867"/>
                <a:gd name="T18" fmla="*/ 1350 w 1624"/>
                <a:gd name="T19" fmla="*/ 69 h 1867"/>
                <a:gd name="T20" fmla="*/ 1527 w 1624"/>
                <a:gd name="T21" fmla="*/ 235 h 1867"/>
                <a:gd name="T22" fmla="*/ 1583 w 1624"/>
                <a:gd name="T23" fmla="*/ 555 h 1867"/>
                <a:gd name="T24" fmla="*/ 1172 w 1624"/>
                <a:gd name="T25" fmla="*/ 1253 h 1867"/>
                <a:gd name="T26" fmla="*/ 586 w 1624"/>
                <a:gd name="T27" fmla="*/ 1803 h 1867"/>
                <a:gd name="T28" fmla="*/ 269 w 1624"/>
                <a:gd name="T29" fmla="*/ 1807 h 1867"/>
                <a:gd name="T30" fmla="*/ 33 w 1624"/>
                <a:gd name="T31" fmla="*/ 1602 h 1867"/>
                <a:gd name="T32" fmla="*/ 2 w 1624"/>
                <a:gd name="T33" fmla="*/ 1508 h 1867"/>
                <a:gd name="T34" fmla="*/ 45 w 1624"/>
                <a:gd name="T35" fmla="*/ 1421 h 1867"/>
                <a:gd name="T36" fmla="*/ 346 w 1624"/>
                <a:gd name="T37" fmla="*/ 1158 h 1867"/>
                <a:gd name="T38" fmla="*/ 448 w 1624"/>
                <a:gd name="T39" fmla="*/ 1145 h 1867"/>
                <a:gd name="T40" fmla="*/ 573 w 1624"/>
                <a:gd name="T41" fmla="*/ 1257 h 1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4" h="1867">
                  <a:moveTo>
                    <a:pt x="573" y="1257"/>
                  </a:moveTo>
                  <a:cubicBezTo>
                    <a:pt x="592" y="1282"/>
                    <a:pt x="630" y="1303"/>
                    <a:pt x="662" y="1288"/>
                  </a:cubicBezTo>
                  <a:cubicBezTo>
                    <a:pt x="753" y="1245"/>
                    <a:pt x="854" y="1156"/>
                    <a:pt x="938" y="1051"/>
                  </a:cubicBezTo>
                  <a:cubicBezTo>
                    <a:pt x="1020" y="948"/>
                    <a:pt x="1084" y="831"/>
                    <a:pt x="1106" y="731"/>
                  </a:cubicBezTo>
                  <a:cubicBezTo>
                    <a:pt x="1113" y="696"/>
                    <a:pt x="1089" y="661"/>
                    <a:pt x="1059" y="645"/>
                  </a:cubicBezTo>
                  <a:cubicBezTo>
                    <a:pt x="1001" y="613"/>
                    <a:pt x="1001" y="613"/>
                    <a:pt x="1001" y="613"/>
                  </a:cubicBezTo>
                  <a:cubicBezTo>
                    <a:pt x="942" y="580"/>
                    <a:pt x="888" y="499"/>
                    <a:pt x="924" y="432"/>
                  </a:cubicBezTo>
                  <a:cubicBezTo>
                    <a:pt x="1114" y="81"/>
                    <a:pt x="1114" y="81"/>
                    <a:pt x="1114" y="81"/>
                  </a:cubicBezTo>
                  <a:cubicBezTo>
                    <a:pt x="1150" y="16"/>
                    <a:pt x="1224" y="0"/>
                    <a:pt x="1287" y="35"/>
                  </a:cubicBezTo>
                  <a:cubicBezTo>
                    <a:pt x="1350" y="69"/>
                    <a:pt x="1350" y="69"/>
                    <a:pt x="1350" y="69"/>
                  </a:cubicBezTo>
                  <a:cubicBezTo>
                    <a:pt x="1415" y="105"/>
                    <a:pt x="1479" y="165"/>
                    <a:pt x="1527" y="235"/>
                  </a:cubicBezTo>
                  <a:cubicBezTo>
                    <a:pt x="1593" y="332"/>
                    <a:pt x="1624" y="442"/>
                    <a:pt x="1583" y="555"/>
                  </a:cubicBezTo>
                  <a:cubicBezTo>
                    <a:pt x="1500" y="781"/>
                    <a:pt x="1351" y="1030"/>
                    <a:pt x="1172" y="1253"/>
                  </a:cubicBezTo>
                  <a:cubicBezTo>
                    <a:pt x="994" y="1477"/>
                    <a:pt x="786" y="1676"/>
                    <a:pt x="586" y="1803"/>
                  </a:cubicBezTo>
                  <a:cubicBezTo>
                    <a:pt x="486" y="1867"/>
                    <a:pt x="375" y="1856"/>
                    <a:pt x="269" y="1807"/>
                  </a:cubicBezTo>
                  <a:cubicBezTo>
                    <a:pt x="157" y="1755"/>
                    <a:pt x="106" y="1695"/>
                    <a:pt x="33" y="1602"/>
                  </a:cubicBezTo>
                  <a:cubicBezTo>
                    <a:pt x="11" y="1573"/>
                    <a:pt x="0" y="1540"/>
                    <a:pt x="2" y="1508"/>
                  </a:cubicBezTo>
                  <a:cubicBezTo>
                    <a:pt x="4" y="1475"/>
                    <a:pt x="18" y="1444"/>
                    <a:pt x="45" y="1421"/>
                  </a:cubicBezTo>
                  <a:cubicBezTo>
                    <a:pt x="70" y="1399"/>
                    <a:pt x="346" y="1158"/>
                    <a:pt x="346" y="1158"/>
                  </a:cubicBezTo>
                  <a:cubicBezTo>
                    <a:pt x="376" y="1134"/>
                    <a:pt x="413" y="1133"/>
                    <a:pt x="448" y="1145"/>
                  </a:cubicBezTo>
                  <a:cubicBezTo>
                    <a:pt x="510" y="1166"/>
                    <a:pt x="536" y="1210"/>
                    <a:pt x="573" y="12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</p:grpSp>
      <p:grpSp>
        <p:nvGrpSpPr>
          <p:cNvPr id="38" name="Group 3">
            <a:extLst>
              <a:ext uri="{FF2B5EF4-FFF2-40B4-BE49-F238E27FC236}">
                <a16:creationId xmlns:a16="http://schemas.microsoft.com/office/drawing/2014/main" id="{7104BADD-8CD1-6F4A-B894-869C3BDB3EEB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3770066" y="5330827"/>
            <a:ext cx="171180" cy="171180"/>
            <a:chOff x="328396" y="5313940"/>
            <a:chExt cx="720000" cy="720000"/>
          </a:xfrm>
        </p:grpSpPr>
        <p:sp>
          <p:nvSpPr>
            <p:cNvPr id="39" name="Rectangle 4">
              <a:extLst>
                <a:ext uri="{FF2B5EF4-FFF2-40B4-BE49-F238E27FC236}">
                  <a16:creationId xmlns:a16="http://schemas.microsoft.com/office/drawing/2014/main" id="{74BE3D5F-1445-6E40-8B49-72E15568383B}"/>
                </a:ext>
              </a:extLst>
            </p:cNvPr>
            <p:cNvSpPr/>
            <p:nvPr/>
          </p:nvSpPr>
          <p:spPr bwMode="gray">
            <a:xfrm>
              <a:off x="328396" y="5313940"/>
              <a:ext cx="720000" cy="720000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Freeform 76">
              <a:extLst>
                <a:ext uri="{FF2B5EF4-FFF2-40B4-BE49-F238E27FC236}">
                  <a16:creationId xmlns:a16="http://schemas.microsoft.com/office/drawing/2014/main" id="{55DB3C95-7D0C-D141-901E-96D692794D2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56202" y="5509222"/>
              <a:ext cx="504000" cy="329436"/>
            </a:xfrm>
            <a:custGeom>
              <a:avLst/>
              <a:gdLst>
                <a:gd name="T0" fmla="*/ 0 w 2080"/>
                <a:gd name="T1" fmla="*/ 65 h 1360"/>
                <a:gd name="T2" fmla="*/ 0 w 2080"/>
                <a:gd name="T3" fmla="*/ 0 h 1360"/>
                <a:gd name="T4" fmla="*/ 2080 w 2080"/>
                <a:gd name="T5" fmla="*/ 0 h 1360"/>
                <a:gd name="T6" fmla="*/ 2080 w 2080"/>
                <a:gd name="T7" fmla="*/ 65 h 1360"/>
                <a:gd name="T8" fmla="*/ 1089 w 2080"/>
                <a:gd name="T9" fmla="*/ 862 h 1360"/>
                <a:gd name="T10" fmla="*/ 991 w 2080"/>
                <a:gd name="T11" fmla="*/ 862 h 1360"/>
                <a:gd name="T12" fmla="*/ 0 w 2080"/>
                <a:gd name="T13" fmla="*/ 65 h 1360"/>
                <a:gd name="T14" fmla="*/ 1139 w 2080"/>
                <a:gd name="T15" fmla="*/ 924 h 1360"/>
                <a:gd name="T16" fmla="*/ 1282 w 2080"/>
                <a:gd name="T17" fmla="*/ 810 h 1360"/>
                <a:gd name="T18" fmla="*/ 2076 w 2080"/>
                <a:gd name="T19" fmla="*/ 1360 h 1360"/>
                <a:gd name="T20" fmla="*/ 4 w 2080"/>
                <a:gd name="T21" fmla="*/ 1360 h 1360"/>
                <a:gd name="T22" fmla="*/ 798 w 2080"/>
                <a:gd name="T23" fmla="*/ 810 h 1360"/>
                <a:gd name="T24" fmla="*/ 941 w 2080"/>
                <a:gd name="T25" fmla="*/ 924 h 1360"/>
                <a:gd name="T26" fmla="*/ 1139 w 2080"/>
                <a:gd name="T27" fmla="*/ 924 h 1360"/>
                <a:gd name="T28" fmla="*/ 2 w 2080"/>
                <a:gd name="T29" fmla="*/ 137 h 1360"/>
                <a:gd name="T30" fmla="*/ 42 w 2080"/>
                <a:gd name="T31" fmla="*/ 201 h 1360"/>
                <a:gd name="T32" fmla="*/ 734 w 2080"/>
                <a:gd name="T33" fmla="*/ 758 h 1360"/>
                <a:gd name="T34" fmla="*/ 0 w 2080"/>
                <a:gd name="T35" fmla="*/ 1266 h 1360"/>
                <a:gd name="T36" fmla="*/ 0 w 2080"/>
                <a:gd name="T37" fmla="*/ 135 h 1360"/>
                <a:gd name="T38" fmla="*/ 2 w 2080"/>
                <a:gd name="T39" fmla="*/ 137 h 1360"/>
                <a:gd name="T40" fmla="*/ 2080 w 2080"/>
                <a:gd name="T41" fmla="*/ 136 h 1360"/>
                <a:gd name="T42" fmla="*/ 2080 w 2080"/>
                <a:gd name="T43" fmla="*/ 1265 h 1360"/>
                <a:gd name="T44" fmla="*/ 1346 w 2080"/>
                <a:gd name="T45" fmla="*/ 758 h 1360"/>
                <a:gd name="T46" fmla="*/ 2038 w 2080"/>
                <a:gd name="T47" fmla="*/ 201 h 1360"/>
                <a:gd name="T48" fmla="*/ 2080 w 2080"/>
                <a:gd name="T49" fmla="*/ 136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80" h="1360">
                  <a:moveTo>
                    <a:pt x="0" y="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80" y="0"/>
                    <a:pt x="2080" y="0"/>
                    <a:pt x="2080" y="0"/>
                  </a:cubicBezTo>
                  <a:cubicBezTo>
                    <a:pt x="2080" y="65"/>
                    <a:pt x="2080" y="65"/>
                    <a:pt x="2080" y="65"/>
                  </a:cubicBezTo>
                  <a:cubicBezTo>
                    <a:pt x="1089" y="862"/>
                    <a:pt x="1089" y="862"/>
                    <a:pt x="1089" y="862"/>
                  </a:cubicBezTo>
                  <a:cubicBezTo>
                    <a:pt x="1060" y="886"/>
                    <a:pt x="1020" y="886"/>
                    <a:pt x="991" y="862"/>
                  </a:cubicBezTo>
                  <a:lnTo>
                    <a:pt x="0" y="65"/>
                  </a:lnTo>
                  <a:close/>
                  <a:moveTo>
                    <a:pt x="1139" y="924"/>
                  </a:moveTo>
                  <a:cubicBezTo>
                    <a:pt x="1282" y="810"/>
                    <a:pt x="1282" y="810"/>
                    <a:pt x="1282" y="810"/>
                  </a:cubicBezTo>
                  <a:cubicBezTo>
                    <a:pt x="2076" y="1360"/>
                    <a:pt x="2076" y="1360"/>
                    <a:pt x="2076" y="1360"/>
                  </a:cubicBezTo>
                  <a:cubicBezTo>
                    <a:pt x="4" y="1360"/>
                    <a:pt x="4" y="1360"/>
                    <a:pt x="4" y="1360"/>
                  </a:cubicBezTo>
                  <a:cubicBezTo>
                    <a:pt x="798" y="810"/>
                    <a:pt x="798" y="810"/>
                    <a:pt x="798" y="810"/>
                  </a:cubicBezTo>
                  <a:cubicBezTo>
                    <a:pt x="941" y="924"/>
                    <a:pt x="941" y="924"/>
                    <a:pt x="941" y="924"/>
                  </a:cubicBezTo>
                  <a:cubicBezTo>
                    <a:pt x="1000" y="972"/>
                    <a:pt x="1080" y="972"/>
                    <a:pt x="1139" y="924"/>
                  </a:cubicBezTo>
                  <a:close/>
                  <a:moveTo>
                    <a:pt x="2" y="137"/>
                  </a:moveTo>
                  <a:cubicBezTo>
                    <a:pt x="8" y="163"/>
                    <a:pt x="22" y="185"/>
                    <a:pt x="42" y="201"/>
                  </a:cubicBezTo>
                  <a:cubicBezTo>
                    <a:pt x="734" y="758"/>
                    <a:pt x="734" y="758"/>
                    <a:pt x="734" y="758"/>
                  </a:cubicBezTo>
                  <a:cubicBezTo>
                    <a:pt x="0" y="1266"/>
                    <a:pt x="0" y="1266"/>
                    <a:pt x="0" y="1266"/>
                  </a:cubicBezTo>
                  <a:cubicBezTo>
                    <a:pt x="0" y="135"/>
                    <a:pt x="0" y="135"/>
                    <a:pt x="0" y="135"/>
                  </a:cubicBezTo>
                  <a:lnTo>
                    <a:pt x="2" y="137"/>
                  </a:lnTo>
                  <a:close/>
                  <a:moveTo>
                    <a:pt x="2080" y="136"/>
                  </a:moveTo>
                  <a:cubicBezTo>
                    <a:pt x="2080" y="1265"/>
                    <a:pt x="2080" y="1265"/>
                    <a:pt x="2080" y="1265"/>
                  </a:cubicBezTo>
                  <a:cubicBezTo>
                    <a:pt x="1346" y="758"/>
                    <a:pt x="1346" y="758"/>
                    <a:pt x="1346" y="758"/>
                  </a:cubicBezTo>
                  <a:cubicBezTo>
                    <a:pt x="2038" y="201"/>
                    <a:pt x="2038" y="201"/>
                    <a:pt x="2038" y="201"/>
                  </a:cubicBezTo>
                  <a:cubicBezTo>
                    <a:pt x="2060" y="182"/>
                    <a:pt x="2072" y="162"/>
                    <a:pt x="2080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</p:grpSp>
      <p:cxnSp>
        <p:nvCxnSpPr>
          <p:cNvPr id="41" name="Straight Connector 40"/>
          <p:cNvCxnSpPr/>
          <p:nvPr/>
        </p:nvCxnSpPr>
        <p:spPr>
          <a:xfrm>
            <a:off x="2355914" y="5655833"/>
            <a:ext cx="388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Picture Placeholder 3"/>
          <p:cNvSpPr>
            <a:spLocks noGrp="1"/>
          </p:cNvSpPr>
          <p:nvPr>
            <p:ph type="pic" sz="quarter" idx="29" hasCustomPrompt="1"/>
          </p:nvPr>
        </p:nvSpPr>
        <p:spPr>
          <a:xfrm>
            <a:off x="2355914" y="3986604"/>
            <a:ext cx="1188677" cy="1547840"/>
          </a:xfr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30" hasCustomPrompt="1"/>
          </p:nvPr>
        </p:nvSpPr>
        <p:spPr>
          <a:xfrm>
            <a:off x="3770065" y="3986141"/>
            <a:ext cx="2463190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770065" y="4197957"/>
            <a:ext cx="2463190" cy="266182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Name, Surname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32" hasCustomPrompt="1"/>
          </p:nvPr>
        </p:nvSpPr>
        <p:spPr>
          <a:xfrm>
            <a:off x="3770065" y="4494532"/>
            <a:ext cx="2463190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Job Position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4014948" y="5023208"/>
            <a:ext cx="2218307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Phone number</a:t>
            </a:r>
          </a:p>
        </p:txBody>
      </p:sp>
      <p:sp>
        <p:nvSpPr>
          <p:cNvPr id="47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4014948" y="5306015"/>
            <a:ext cx="2218307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Email address</a:t>
            </a:r>
          </a:p>
        </p:txBody>
      </p:sp>
      <p:grpSp>
        <p:nvGrpSpPr>
          <p:cNvPr id="48" name="Gruppieren 2">
            <a:extLst>
              <a:ext uri="{FF2B5EF4-FFF2-40B4-BE49-F238E27FC236}">
                <a16:creationId xmlns:a16="http://schemas.microsoft.com/office/drawing/2014/main" id="{BE697CE9-EBDE-6B4A-BE70-582D92A8A831}"/>
              </a:ext>
            </a:extLst>
          </p:cNvPr>
          <p:cNvGrpSpPr/>
          <p:nvPr/>
        </p:nvGrpSpPr>
        <p:grpSpPr>
          <a:xfrm>
            <a:off x="8701917" y="5043528"/>
            <a:ext cx="171180" cy="171180"/>
            <a:chOff x="3392092" y="1841122"/>
            <a:chExt cx="646508" cy="646508"/>
          </a:xfrm>
        </p:grpSpPr>
        <p:sp>
          <p:nvSpPr>
            <p:cNvPr id="49" name="Rechteck 14">
              <a:extLst>
                <a:ext uri="{FF2B5EF4-FFF2-40B4-BE49-F238E27FC236}">
                  <a16:creationId xmlns:a16="http://schemas.microsoft.com/office/drawing/2014/main" id="{E142A731-19B7-C34D-9534-9E05108F895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392092" y="1841122"/>
              <a:ext cx="646508" cy="646508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F97E84AE-4AD9-4B44-9AA1-F797FC37380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46638" y="1970424"/>
              <a:ext cx="337415" cy="387905"/>
            </a:xfrm>
            <a:custGeom>
              <a:avLst/>
              <a:gdLst>
                <a:gd name="T0" fmla="*/ 573 w 1624"/>
                <a:gd name="T1" fmla="*/ 1257 h 1867"/>
                <a:gd name="T2" fmla="*/ 662 w 1624"/>
                <a:gd name="T3" fmla="*/ 1288 h 1867"/>
                <a:gd name="T4" fmla="*/ 938 w 1624"/>
                <a:gd name="T5" fmla="*/ 1051 h 1867"/>
                <a:gd name="T6" fmla="*/ 1106 w 1624"/>
                <a:gd name="T7" fmla="*/ 731 h 1867"/>
                <a:gd name="T8" fmla="*/ 1059 w 1624"/>
                <a:gd name="T9" fmla="*/ 645 h 1867"/>
                <a:gd name="T10" fmla="*/ 1001 w 1624"/>
                <a:gd name="T11" fmla="*/ 613 h 1867"/>
                <a:gd name="T12" fmla="*/ 924 w 1624"/>
                <a:gd name="T13" fmla="*/ 432 h 1867"/>
                <a:gd name="T14" fmla="*/ 1114 w 1624"/>
                <a:gd name="T15" fmla="*/ 81 h 1867"/>
                <a:gd name="T16" fmla="*/ 1287 w 1624"/>
                <a:gd name="T17" fmla="*/ 35 h 1867"/>
                <a:gd name="T18" fmla="*/ 1350 w 1624"/>
                <a:gd name="T19" fmla="*/ 69 h 1867"/>
                <a:gd name="T20" fmla="*/ 1527 w 1624"/>
                <a:gd name="T21" fmla="*/ 235 h 1867"/>
                <a:gd name="T22" fmla="*/ 1583 w 1624"/>
                <a:gd name="T23" fmla="*/ 555 h 1867"/>
                <a:gd name="T24" fmla="*/ 1172 w 1624"/>
                <a:gd name="T25" fmla="*/ 1253 h 1867"/>
                <a:gd name="T26" fmla="*/ 586 w 1624"/>
                <a:gd name="T27" fmla="*/ 1803 h 1867"/>
                <a:gd name="T28" fmla="*/ 269 w 1624"/>
                <a:gd name="T29" fmla="*/ 1807 h 1867"/>
                <a:gd name="T30" fmla="*/ 33 w 1624"/>
                <a:gd name="T31" fmla="*/ 1602 h 1867"/>
                <a:gd name="T32" fmla="*/ 2 w 1624"/>
                <a:gd name="T33" fmla="*/ 1508 h 1867"/>
                <a:gd name="T34" fmla="*/ 45 w 1624"/>
                <a:gd name="T35" fmla="*/ 1421 h 1867"/>
                <a:gd name="T36" fmla="*/ 346 w 1624"/>
                <a:gd name="T37" fmla="*/ 1158 h 1867"/>
                <a:gd name="T38" fmla="*/ 448 w 1624"/>
                <a:gd name="T39" fmla="*/ 1145 h 1867"/>
                <a:gd name="T40" fmla="*/ 573 w 1624"/>
                <a:gd name="T41" fmla="*/ 1257 h 1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24" h="1867">
                  <a:moveTo>
                    <a:pt x="573" y="1257"/>
                  </a:moveTo>
                  <a:cubicBezTo>
                    <a:pt x="592" y="1282"/>
                    <a:pt x="630" y="1303"/>
                    <a:pt x="662" y="1288"/>
                  </a:cubicBezTo>
                  <a:cubicBezTo>
                    <a:pt x="753" y="1245"/>
                    <a:pt x="854" y="1156"/>
                    <a:pt x="938" y="1051"/>
                  </a:cubicBezTo>
                  <a:cubicBezTo>
                    <a:pt x="1020" y="948"/>
                    <a:pt x="1084" y="831"/>
                    <a:pt x="1106" y="731"/>
                  </a:cubicBezTo>
                  <a:cubicBezTo>
                    <a:pt x="1113" y="696"/>
                    <a:pt x="1089" y="661"/>
                    <a:pt x="1059" y="645"/>
                  </a:cubicBezTo>
                  <a:cubicBezTo>
                    <a:pt x="1001" y="613"/>
                    <a:pt x="1001" y="613"/>
                    <a:pt x="1001" y="613"/>
                  </a:cubicBezTo>
                  <a:cubicBezTo>
                    <a:pt x="942" y="580"/>
                    <a:pt x="888" y="499"/>
                    <a:pt x="924" y="432"/>
                  </a:cubicBezTo>
                  <a:cubicBezTo>
                    <a:pt x="1114" y="81"/>
                    <a:pt x="1114" y="81"/>
                    <a:pt x="1114" y="81"/>
                  </a:cubicBezTo>
                  <a:cubicBezTo>
                    <a:pt x="1150" y="16"/>
                    <a:pt x="1224" y="0"/>
                    <a:pt x="1287" y="35"/>
                  </a:cubicBezTo>
                  <a:cubicBezTo>
                    <a:pt x="1350" y="69"/>
                    <a:pt x="1350" y="69"/>
                    <a:pt x="1350" y="69"/>
                  </a:cubicBezTo>
                  <a:cubicBezTo>
                    <a:pt x="1415" y="105"/>
                    <a:pt x="1479" y="165"/>
                    <a:pt x="1527" y="235"/>
                  </a:cubicBezTo>
                  <a:cubicBezTo>
                    <a:pt x="1593" y="332"/>
                    <a:pt x="1624" y="442"/>
                    <a:pt x="1583" y="555"/>
                  </a:cubicBezTo>
                  <a:cubicBezTo>
                    <a:pt x="1500" y="781"/>
                    <a:pt x="1351" y="1030"/>
                    <a:pt x="1172" y="1253"/>
                  </a:cubicBezTo>
                  <a:cubicBezTo>
                    <a:pt x="994" y="1477"/>
                    <a:pt x="786" y="1676"/>
                    <a:pt x="586" y="1803"/>
                  </a:cubicBezTo>
                  <a:cubicBezTo>
                    <a:pt x="486" y="1867"/>
                    <a:pt x="375" y="1856"/>
                    <a:pt x="269" y="1807"/>
                  </a:cubicBezTo>
                  <a:cubicBezTo>
                    <a:pt x="157" y="1755"/>
                    <a:pt x="106" y="1695"/>
                    <a:pt x="33" y="1602"/>
                  </a:cubicBezTo>
                  <a:cubicBezTo>
                    <a:pt x="11" y="1573"/>
                    <a:pt x="0" y="1540"/>
                    <a:pt x="2" y="1508"/>
                  </a:cubicBezTo>
                  <a:cubicBezTo>
                    <a:pt x="4" y="1475"/>
                    <a:pt x="18" y="1444"/>
                    <a:pt x="45" y="1421"/>
                  </a:cubicBezTo>
                  <a:cubicBezTo>
                    <a:pt x="70" y="1399"/>
                    <a:pt x="346" y="1158"/>
                    <a:pt x="346" y="1158"/>
                  </a:cubicBezTo>
                  <a:cubicBezTo>
                    <a:pt x="376" y="1134"/>
                    <a:pt x="413" y="1133"/>
                    <a:pt x="448" y="1145"/>
                  </a:cubicBezTo>
                  <a:cubicBezTo>
                    <a:pt x="510" y="1166"/>
                    <a:pt x="536" y="1210"/>
                    <a:pt x="573" y="12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 dirty="0"/>
            </a:p>
          </p:txBody>
        </p:sp>
      </p:grpSp>
      <p:grpSp>
        <p:nvGrpSpPr>
          <p:cNvPr id="51" name="Group 3">
            <a:extLst>
              <a:ext uri="{FF2B5EF4-FFF2-40B4-BE49-F238E27FC236}">
                <a16:creationId xmlns:a16="http://schemas.microsoft.com/office/drawing/2014/main" id="{7104BADD-8CD1-6F4A-B894-869C3BDB3EEB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8701918" y="5328416"/>
            <a:ext cx="171180" cy="171180"/>
            <a:chOff x="328396" y="5313940"/>
            <a:chExt cx="720000" cy="720000"/>
          </a:xfrm>
        </p:grpSpPr>
        <p:sp>
          <p:nvSpPr>
            <p:cNvPr id="52" name="Rectangle 4">
              <a:extLst>
                <a:ext uri="{FF2B5EF4-FFF2-40B4-BE49-F238E27FC236}">
                  <a16:creationId xmlns:a16="http://schemas.microsoft.com/office/drawing/2014/main" id="{74BE3D5F-1445-6E40-8B49-72E15568383B}"/>
                </a:ext>
              </a:extLst>
            </p:cNvPr>
            <p:cNvSpPr/>
            <p:nvPr/>
          </p:nvSpPr>
          <p:spPr bwMode="gray">
            <a:xfrm>
              <a:off x="328396" y="5313940"/>
              <a:ext cx="720000" cy="720000"/>
            </a:xfrm>
            <a:prstGeom prst="rect">
              <a:avLst/>
            </a:prstGeom>
            <a:solidFill>
              <a:srgbClr val="E55A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Freeform 76">
              <a:extLst>
                <a:ext uri="{FF2B5EF4-FFF2-40B4-BE49-F238E27FC236}">
                  <a16:creationId xmlns:a16="http://schemas.microsoft.com/office/drawing/2014/main" id="{55DB3C95-7D0C-D141-901E-96D692794D2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56202" y="5509222"/>
              <a:ext cx="504000" cy="329436"/>
            </a:xfrm>
            <a:custGeom>
              <a:avLst/>
              <a:gdLst>
                <a:gd name="T0" fmla="*/ 0 w 2080"/>
                <a:gd name="T1" fmla="*/ 65 h 1360"/>
                <a:gd name="T2" fmla="*/ 0 w 2080"/>
                <a:gd name="T3" fmla="*/ 0 h 1360"/>
                <a:gd name="T4" fmla="*/ 2080 w 2080"/>
                <a:gd name="T5" fmla="*/ 0 h 1360"/>
                <a:gd name="T6" fmla="*/ 2080 w 2080"/>
                <a:gd name="T7" fmla="*/ 65 h 1360"/>
                <a:gd name="T8" fmla="*/ 1089 w 2080"/>
                <a:gd name="T9" fmla="*/ 862 h 1360"/>
                <a:gd name="T10" fmla="*/ 991 w 2080"/>
                <a:gd name="T11" fmla="*/ 862 h 1360"/>
                <a:gd name="T12" fmla="*/ 0 w 2080"/>
                <a:gd name="T13" fmla="*/ 65 h 1360"/>
                <a:gd name="T14" fmla="*/ 1139 w 2080"/>
                <a:gd name="T15" fmla="*/ 924 h 1360"/>
                <a:gd name="T16" fmla="*/ 1282 w 2080"/>
                <a:gd name="T17" fmla="*/ 810 h 1360"/>
                <a:gd name="T18" fmla="*/ 2076 w 2080"/>
                <a:gd name="T19" fmla="*/ 1360 h 1360"/>
                <a:gd name="T20" fmla="*/ 4 w 2080"/>
                <a:gd name="T21" fmla="*/ 1360 h 1360"/>
                <a:gd name="T22" fmla="*/ 798 w 2080"/>
                <a:gd name="T23" fmla="*/ 810 h 1360"/>
                <a:gd name="T24" fmla="*/ 941 w 2080"/>
                <a:gd name="T25" fmla="*/ 924 h 1360"/>
                <a:gd name="T26" fmla="*/ 1139 w 2080"/>
                <a:gd name="T27" fmla="*/ 924 h 1360"/>
                <a:gd name="T28" fmla="*/ 2 w 2080"/>
                <a:gd name="T29" fmla="*/ 137 h 1360"/>
                <a:gd name="T30" fmla="*/ 42 w 2080"/>
                <a:gd name="T31" fmla="*/ 201 h 1360"/>
                <a:gd name="T32" fmla="*/ 734 w 2080"/>
                <a:gd name="T33" fmla="*/ 758 h 1360"/>
                <a:gd name="T34" fmla="*/ 0 w 2080"/>
                <a:gd name="T35" fmla="*/ 1266 h 1360"/>
                <a:gd name="T36" fmla="*/ 0 w 2080"/>
                <a:gd name="T37" fmla="*/ 135 h 1360"/>
                <a:gd name="T38" fmla="*/ 2 w 2080"/>
                <a:gd name="T39" fmla="*/ 137 h 1360"/>
                <a:gd name="T40" fmla="*/ 2080 w 2080"/>
                <a:gd name="T41" fmla="*/ 136 h 1360"/>
                <a:gd name="T42" fmla="*/ 2080 w 2080"/>
                <a:gd name="T43" fmla="*/ 1265 h 1360"/>
                <a:gd name="T44" fmla="*/ 1346 w 2080"/>
                <a:gd name="T45" fmla="*/ 758 h 1360"/>
                <a:gd name="T46" fmla="*/ 2038 w 2080"/>
                <a:gd name="T47" fmla="*/ 201 h 1360"/>
                <a:gd name="T48" fmla="*/ 2080 w 2080"/>
                <a:gd name="T49" fmla="*/ 136 h 1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80" h="1360">
                  <a:moveTo>
                    <a:pt x="0" y="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80" y="0"/>
                    <a:pt x="2080" y="0"/>
                    <a:pt x="2080" y="0"/>
                  </a:cubicBezTo>
                  <a:cubicBezTo>
                    <a:pt x="2080" y="65"/>
                    <a:pt x="2080" y="65"/>
                    <a:pt x="2080" y="65"/>
                  </a:cubicBezTo>
                  <a:cubicBezTo>
                    <a:pt x="1089" y="862"/>
                    <a:pt x="1089" y="862"/>
                    <a:pt x="1089" y="862"/>
                  </a:cubicBezTo>
                  <a:cubicBezTo>
                    <a:pt x="1060" y="886"/>
                    <a:pt x="1020" y="886"/>
                    <a:pt x="991" y="862"/>
                  </a:cubicBezTo>
                  <a:lnTo>
                    <a:pt x="0" y="65"/>
                  </a:lnTo>
                  <a:close/>
                  <a:moveTo>
                    <a:pt x="1139" y="924"/>
                  </a:moveTo>
                  <a:cubicBezTo>
                    <a:pt x="1282" y="810"/>
                    <a:pt x="1282" y="810"/>
                    <a:pt x="1282" y="810"/>
                  </a:cubicBezTo>
                  <a:cubicBezTo>
                    <a:pt x="2076" y="1360"/>
                    <a:pt x="2076" y="1360"/>
                    <a:pt x="2076" y="1360"/>
                  </a:cubicBezTo>
                  <a:cubicBezTo>
                    <a:pt x="4" y="1360"/>
                    <a:pt x="4" y="1360"/>
                    <a:pt x="4" y="1360"/>
                  </a:cubicBezTo>
                  <a:cubicBezTo>
                    <a:pt x="798" y="810"/>
                    <a:pt x="798" y="810"/>
                    <a:pt x="798" y="810"/>
                  </a:cubicBezTo>
                  <a:cubicBezTo>
                    <a:pt x="941" y="924"/>
                    <a:pt x="941" y="924"/>
                    <a:pt x="941" y="924"/>
                  </a:cubicBezTo>
                  <a:cubicBezTo>
                    <a:pt x="1000" y="972"/>
                    <a:pt x="1080" y="972"/>
                    <a:pt x="1139" y="924"/>
                  </a:cubicBezTo>
                  <a:close/>
                  <a:moveTo>
                    <a:pt x="2" y="137"/>
                  </a:moveTo>
                  <a:cubicBezTo>
                    <a:pt x="8" y="163"/>
                    <a:pt x="22" y="185"/>
                    <a:pt x="42" y="201"/>
                  </a:cubicBezTo>
                  <a:cubicBezTo>
                    <a:pt x="734" y="758"/>
                    <a:pt x="734" y="758"/>
                    <a:pt x="734" y="758"/>
                  </a:cubicBezTo>
                  <a:cubicBezTo>
                    <a:pt x="0" y="1266"/>
                    <a:pt x="0" y="1266"/>
                    <a:pt x="0" y="1266"/>
                  </a:cubicBezTo>
                  <a:cubicBezTo>
                    <a:pt x="0" y="135"/>
                    <a:pt x="0" y="135"/>
                    <a:pt x="0" y="135"/>
                  </a:cubicBezTo>
                  <a:lnTo>
                    <a:pt x="2" y="137"/>
                  </a:lnTo>
                  <a:close/>
                  <a:moveTo>
                    <a:pt x="2080" y="136"/>
                  </a:moveTo>
                  <a:cubicBezTo>
                    <a:pt x="2080" y="1265"/>
                    <a:pt x="2080" y="1265"/>
                    <a:pt x="2080" y="1265"/>
                  </a:cubicBezTo>
                  <a:cubicBezTo>
                    <a:pt x="1346" y="758"/>
                    <a:pt x="1346" y="758"/>
                    <a:pt x="1346" y="758"/>
                  </a:cubicBezTo>
                  <a:cubicBezTo>
                    <a:pt x="2038" y="201"/>
                    <a:pt x="2038" y="201"/>
                    <a:pt x="2038" y="201"/>
                  </a:cubicBezTo>
                  <a:cubicBezTo>
                    <a:pt x="2060" y="182"/>
                    <a:pt x="2072" y="162"/>
                    <a:pt x="2080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</p:grpSp>
      <p:cxnSp>
        <p:nvCxnSpPr>
          <p:cNvPr id="54" name="Straight Connector 53"/>
          <p:cNvCxnSpPr/>
          <p:nvPr/>
        </p:nvCxnSpPr>
        <p:spPr>
          <a:xfrm>
            <a:off x="7287766" y="5653422"/>
            <a:ext cx="388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Picture Placeholder 3"/>
          <p:cNvSpPr>
            <a:spLocks noGrp="1"/>
          </p:cNvSpPr>
          <p:nvPr>
            <p:ph type="pic" sz="quarter" idx="35" hasCustomPrompt="1"/>
          </p:nvPr>
        </p:nvSpPr>
        <p:spPr>
          <a:xfrm>
            <a:off x="7287766" y="3984193"/>
            <a:ext cx="1188677" cy="1547840"/>
          </a:xfrm>
          <a:solidFill>
            <a:srgbClr val="D9DADB"/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56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8701917" y="3983730"/>
            <a:ext cx="2463190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57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8701917" y="4195546"/>
            <a:ext cx="2463190" cy="266182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buNone/>
              <a:defRPr sz="1400" b="1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Name, Surname</a:t>
            </a:r>
          </a:p>
        </p:txBody>
      </p:sp>
      <p:sp>
        <p:nvSpPr>
          <p:cNvPr id="58" name="Text Placeholder 5"/>
          <p:cNvSpPr>
            <a:spLocks noGrp="1"/>
          </p:cNvSpPr>
          <p:nvPr>
            <p:ph type="body" sz="quarter" idx="38" hasCustomPrompt="1"/>
          </p:nvPr>
        </p:nvSpPr>
        <p:spPr>
          <a:xfrm>
            <a:off x="8701917" y="4492121"/>
            <a:ext cx="2463190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Job Position</a:t>
            </a:r>
          </a:p>
        </p:txBody>
      </p:sp>
      <p:sp>
        <p:nvSpPr>
          <p:cNvPr id="59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8946800" y="5020797"/>
            <a:ext cx="2218307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Phone number</a:t>
            </a:r>
          </a:p>
        </p:txBody>
      </p:sp>
      <p:sp>
        <p:nvSpPr>
          <p:cNvPr id="60" name="Text Placeholder 5"/>
          <p:cNvSpPr>
            <a:spLocks noGrp="1"/>
          </p:cNvSpPr>
          <p:nvPr>
            <p:ph type="body" sz="quarter" idx="40" hasCustomPrompt="1"/>
          </p:nvPr>
        </p:nvSpPr>
        <p:spPr>
          <a:xfrm>
            <a:off x="8946800" y="5303604"/>
            <a:ext cx="2218307" cy="192360"/>
          </a:xfr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None/>
              <a:defRPr sz="1000" baseline="0"/>
            </a:lvl1pPr>
            <a:lvl2pPr marL="0" indent="0">
              <a:lnSpc>
                <a:spcPct val="100000"/>
              </a:lnSpc>
              <a:buNone/>
              <a:defRPr sz="1000"/>
            </a:lvl2pPr>
            <a:lvl3pPr marL="0" indent="0">
              <a:lnSpc>
                <a:spcPct val="100000"/>
              </a:lnSpc>
              <a:buNone/>
              <a:defRPr sz="1000"/>
            </a:lvl3pPr>
            <a:lvl4pPr marL="0" indent="0">
              <a:lnSpc>
                <a:spcPct val="100000"/>
              </a:lnSpc>
              <a:buNone/>
              <a:defRPr sz="1000"/>
            </a:lvl4pPr>
            <a:lvl5pPr marL="0" indent="0">
              <a:lnSpc>
                <a:spcPct val="100000"/>
              </a:lnSpc>
              <a:buNone/>
              <a:defRPr sz="1000"/>
            </a:lvl5pPr>
          </a:lstStyle>
          <a:p>
            <a:pPr lvl="0"/>
            <a:r>
              <a:rPr lang="en-US" dirty="0"/>
              <a:t>Email address</a:t>
            </a:r>
          </a:p>
        </p:txBody>
      </p:sp>
    </p:spTree>
    <p:extLst>
      <p:ext uri="{BB962C8B-B14F-4D97-AF65-F5344CB8AC3E}">
        <p14:creationId xmlns:p14="http://schemas.microsoft.com/office/powerpoint/2010/main" val="6678008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">
            <a:extLst>
              <a:ext uri="{FF2B5EF4-FFF2-40B4-BE49-F238E27FC236}">
                <a16:creationId xmlns:a16="http://schemas.microsoft.com/office/drawing/2014/main" id="{8BF907F5-A9CD-2740-AF54-6BACB62334A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37" t="1" r="7487" b="9924"/>
          <a:stretch/>
        </p:blipFill>
        <p:spPr>
          <a:xfrm>
            <a:off x="2620212" y="-8808"/>
            <a:ext cx="9697299" cy="6866807"/>
          </a:xfrm>
          <a:prstGeom prst="rect">
            <a:avLst/>
          </a:prstGeom>
        </p:spPr>
      </p:pic>
      <p:sp>
        <p:nvSpPr>
          <p:cNvPr id="29" name="shpPicture"/>
          <p:cNvSpPr/>
          <p:nvPr/>
        </p:nvSpPr>
        <p:spPr>
          <a:xfrm>
            <a:off x="0" y="0"/>
            <a:ext cx="4347306" cy="6858000"/>
          </a:xfrm>
          <a:custGeom>
            <a:avLst/>
            <a:gdLst>
              <a:gd name="connsiteX0" fmla="*/ 0 w 4347306"/>
              <a:gd name="connsiteY0" fmla="*/ 0 h 6858000"/>
              <a:gd name="connsiteX1" fmla="*/ 3252806 w 4347306"/>
              <a:gd name="connsiteY1" fmla="*/ 0 h 6858000"/>
              <a:gd name="connsiteX2" fmla="*/ 4347306 w 4347306"/>
              <a:gd name="connsiteY2" fmla="*/ 4140909 h 6858000"/>
              <a:gd name="connsiteX3" fmla="*/ 2943442 w 4347306"/>
              <a:gd name="connsiteY3" fmla="*/ 6858000 h 6858000"/>
              <a:gd name="connsiteX4" fmla="*/ 0 w 434730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47306" h="6858000">
                <a:moveTo>
                  <a:pt x="0" y="0"/>
                </a:moveTo>
                <a:lnTo>
                  <a:pt x="3252806" y="0"/>
                </a:lnTo>
                <a:lnTo>
                  <a:pt x="4347306" y="4140909"/>
                </a:lnTo>
                <a:lnTo>
                  <a:pt x="294344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US" sz="1600" dirty="0"/>
          </a:p>
        </p:txBody>
      </p:sp>
      <p:grpSp>
        <p:nvGrpSpPr>
          <p:cNvPr id="14" name="logo">
            <a:extLst>
              <a:ext uri="{FF2B5EF4-FFF2-40B4-BE49-F238E27FC236}">
                <a16:creationId xmlns:a16="http://schemas.microsoft.com/office/drawing/2014/main" id="{18C26D95-70F8-8A4D-9F18-DCCB92522AF8}"/>
              </a:ext>
            </a:extLst>
          </p:cNvPr>
          <p:cNvGrpSpPr/>
          <p:nvPr/>
        </p:nvGrpSpPr>
        <p:grpSpPr bwMode="gray">
          <a:xfrm>
            <a:off x="417363" y="407485"/>
            <a:ext cx="1518585" cy="646507"/>
            <a:chOff x="334963" y="296652"/>
            <a:chExt cx="1268411" cy="540000"/>
          </a:xfrm>
        </p:grpSpPr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8737AD0-E375-E445-97E6-CD2E2DF6062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82662" y="360462"/>
              <a:ext cx="620712" cy="431800"/>
            </a:xfrm>
            <a:custGeom>
              <a:avLst/>
              <a:gdLst>
                <a:gd name="T0" fmla="*/ 19 w 1809"/>
                <a:gd name="T1" fmla="*/ 97 h 1253"/>
                <a:gd name="T2" fmla="*/ 165 w 1809"/>
                <a:gd name="T3" fmla="*/ 41 h 1253"/>
                <a:gd name="T4" fmla="*/ 211 w 1809"/>
                <a:gd name="T5" fmla="*/ 224 h 1253"/>
                <a:gd name="T6" fmla="*/ 248 w 1809"/>
                <a:gd name="T7" fmla="*/ 155 h 1253"/>
                <a:gd name="T8" fmla="*/ 931 w 1809"/>
                <a:gd name="T9" fmla="*/ 995 h 1253"/>
                <a:gd name="T10" fmla="*/ 858 w 1809"/>
                <a:gd name="T11" fmla="*/ 1115 h 1253"/>
                <a:gd name="T12" fmla="*/ 749 w 1809"/>
                <a:gd name="T13" fmla="*/ 1117 h 1253"/>
                <a:gd name="T14" fmla="*/ 681 w 1809"/>
                <a:gd name="T15" fmla="*/ 1055 h 1253"/>
                <a:gd name="T16" fmla="*/ 800 w 1809"/>
                <a:gd name="T17" fmla="*/ 1054 h 1253"/>
                <a:gd name="T18" fmla="*/ 884 w 1809"/>
                <a:gd name="T19" fmla="*/ 1181 h 1253"/>
                <a:gd name="T20" fmla="*/ 118 w 1809"/>
                <a:gd name="T21" fmla="*/ 1086 h 1253"/>
                <a:gd name="T22" fmla="*/ 147 w 1809"/>
                <a:gd name="T23" fmla="*/ 1026 h 1253"/>
                <a:gd name="T24" fmla="*/ 102 w 1809"/>
                <a:gd name="T25" fmla="*/ 1026 h 1253"/>
                <a:gd name="T26" fmla="*/ 639 w 1809"/>
                <a:gd name="T27" fmla="*/ 84 h 1253"/>
                <a:gd name="T28" fmla="*/ 763 w 1809"/>
                <a:gd name="T29" fmla="*/ 145 h 1253"/>
                <a:gd name="T30" fmla="*/ 863 w 1809"/>
                <a:gd name="T31" fmla="*/ 221 h 1253"/>
                <a:gd name="T32" fmla="*/ 834 w 1809"/>
                <a:gd name="T33" fmla="*/ 208 h 1253"/>
                <a:gd name="T34" fmla="*/ 719 w 1809"/>
                <a:gd name="T35" fmla="*/ 182 h 1253"/>
                <a:gd name="T36" fmla="*/ 507 w 1809"/>
                <a:gd name="T37" fmla="*/ 711 h 1253"/>
                <a:gd name="T38" fmla="*/ 614 w 1809"/>
                <a:gd name="T39" fmla="*/ 706 h 1253"/>
                <a:gd name="T40" fmla="*/ 736 w 1809"/>
                <a:gd name="T41" fmla="*/ 730 h 1253"/>
                <a:gd name="T42" fmla="*/ 607 w 1809"/>
                <a:gd name="T43" fmla="*/ 539 h 1253"/>
                <a:gd name="T44" fmla="*/ 1505 w 1809"/>
                <a:gd name="T45" fmla="*/ 1136 h 1253"/>
                <a:gd name="T46" fmla="*/ 1613 w 1809"/>
                <a:gd name="T47" fmla="*/ 1002 h 1253"/>
                <a:gd name="T48" fmla="*/ 1472 w 1809"/>
                <a:gd name="T49" fmla="*/ 1164 h 1253"/>
                <a:gd name="T50" fmla="*/ 1525 w 1809"/>
                <a:gd name="T51" fmla="*/ 1142 h 1253"/>
                <a:gd name="T52" fmla="*/ 1556 w 1809"/>
                <a:gd name="T53" fmla="*/ 1172 h 1253"/>
                <a:gd name="T54" fmla="*/ 1387 w 1809"/>
                <a:gd name="T55" fmla="*/ 910 h 1253"/>
                <a:gd name="T56" fmla="*/ 1261 w 1809"/>
                <a:gd name="T57" fmla="*/ 1157 h 1253"/>
                <a:gd name="T58" fmla="*/ 1413 w 1809"/>
                <a:gd name="T59" fmla="*/ 934 h 1253"/>
                <a:gd name="T60" fmla="*/ 1378 w 1809"/>
                <a:gd name="T61" fmla="*/ 1052 h 1253"/>
                <a:gd name="T62" fmla="*/ 488 w 1809"/>
                <a:gd name="T63" fmla="*/ 85 h 1253"/>
                <a:gd name="T64" fmla="*/ 509 w 1809"/>
                <a:gd name="T65" fmla="*/ 112 h 1253"/>
                <a:gd name="T66" fmla="*/ 548 w 1809"/>
                <a:gd name="T67" fmla="*/ 1187 h 1253"/>
                <a:gd name="T68" fmla="*/ 472 w 1809"/>
                <a:gd name="T69" fmla="*/ 1122 h 1253"/>
                <a:gd name="T70" fmla="*/ 558 w 1809"/>
                <a:gd name="T71" fmla="*/ 1157 h 1253"/>
                <a:gd name="T72" fmla="*/ 287 w 1809"/>
                <a:gd name="T73" fmla="*/ 654 h 1253"/>
                <a:gd name="T74" fmla="*/ 416 w 1809"/>
                <a:gd name="T75" fmla="*/ 684 h 1253"/>
                <a:gd name="T76" fmla="*/ 1106 w 1809"/>
                <a:gd name="T77" fmla="*/ 147 h 1253"/>
                <a:gd name="T78" fmla="*/ 1229 w 1809"/>
                <a:gd name="T79" fmla="*/ 258 h 1253"/>
                <a:gd name="T80" fmla="*/ 1106 w 1809"/>
                <a:gd name="T81" fmla="*/ 96 h 1253"/>
                <a:gd name="T82" fmla="*/ 1219 w 1809"/>
                <a:gd name="T83" fmla="*/ 1077 h 1253"/>
                <a:gd name="T84" fmla="*/ 1214 w 1809"/>
                <a:gd name="T85" fmla="*/ 1157 h 1253"/>
                <a:gd name="T86" fmla="*/ 1150 w 1809"/>
                <a:gd name="T87" fmla="*/ 1092 h 1253"/>
                <a:gd name="T88" fmla="*/ 1139 w 1809"/>
                <a:gd name="T89" fmla="*/ 1070 h 1253"/>
                <a:gd name="T90" fmla="*/ 1659 w 1809"/>
                <a:gd name="T91" fmla="*/ 1031 h 1253"/>
                <a:gd name="T92" fmla="*/ 1714 w 1809"/>
                <a:gd name="T93" fmla="*/ 1155 h 1253"/>
                <a:gd name="T94" fmla="*/ 1760 w 1809"/>
                <a:gd name="T95" fmla="*/ 1030 h 1253"/>
                <a:gd name="T96" fmla="*/ 111 w 1809"/>
                <a:gd name="T97" fmla="*/ 569 h 1253"/>
                <a:gd name="T98" fmla="*/ 109 w 1809"/>
                <a:gd name="T99" fmla="*/ 460 h 1253"/>
                <a:gd name="T100" fmla="*/ 32 w 1809"/>
                <a:gd name="T101" fmla="*/ 704 h 1253"/>
                <a:gd name="T102" fmla="*/ 310 w 1809"/>
                <a:gd name="T103" fmla="*/ 1058 h 1253"/>
                <a:gd name="T104" fmla="*/ 431 w 1809"/>
                <a:gd name="T105" fmla="*/ 1044 h 1253"/>
                <a:gd name="T106" fmla="*/ 278 w 1809"/>
                <a:gd name="T107" fmla="*/ 1165 h 1253"/>
                <a:gd name="T108" fmla="*/ 261 w 1809"/>
                <a:gd name="T109" fmla="*/ 540 h 1253"/>
                <a:gd name="T110" fmla="*/ 150 w 1809"/>
                <a:gd name="T111" fmla="*/ 635 h 1253"/>
                <a:gd name="T112" fmla="*/ 994 w 1809"/>
                <a:gd name="T113" fmla="*/ 1185 h 1253"/>
                <a:gd name="T114" fmla="*/ 331 w 1809"/>
                <a:gd name="T115" fmla="*/ 176 h 1253"/>
                <a:gd name="T116" fmla="*/ 333 w 1809"/>
                <a:gd name="T117" fmla="*/ 109 h 1253"/>
                <a:gd name="T118" fmla="*/ 946 w 1809"/>
                <a:gd name="T119" fmla="*/ 234 h 1253"/>
                <a:gd name="T120" fmla="*/ 1022 w 1809"/>
                <a:gd name="T121" fmla="*/ 113 h 1253"/>
                <a:gd name="T122" fmla="*/ 949 w 1809"/>
                <a:gd name="T123" fmla="*/ 65 h 1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09" h="1253">
                  <a:moveTo>
                    <a:pt x="248" y="198"/>
                  </a:moveTo>
                  <a:cubicBezTo>
                    <a:pt x="248" y="211"/>
                    <a:pt x="248" y="224"/>
                    <a:pt x="249" y="237"/>
                  </a:cubicBezTo>
                  <a:cubicBezTo>
                    <a:pt x="249" y="245"/>
                    <a:pt x="246" y="249"/>
                    <a:pt x="240" y="253"/>
                  </a:cubicBezTo>
                  <a:cubicBezTo>
                    <a:pt x="231" y="260"/>
                    <a:pt x="220" y="264"/>
                    <a:pt x="209" y="268"/>
                  </a:cubicBezTo>
                  <a:cubicBezTo>
                    <a:pt x="179" y="279"/>
                    <a:pt x="148" y="280"/>
                    <a:pt x="118" y="275"/>
                  </a:cubicBezTo>
                  <a:cubicBezTo>
                    <a:pt x="86" y="269"/>
                    <a:pt x="58" y="252"/>
                    <a:pt x="39" y="224"/>
                  </a:cubicBezTo>
                  <a:cubicBezTo>
                    <a:pt x="24" y="203"/>
                    <a:pt x="18" y="180"/>
                    <a:pt x="15" y="155"/>
                  </a:cubicBezTo>
                  <a:cubicBezTo>
                    <a:pt x="11" y="135"/>
                    <a:pt x="15" y="115"/>
                    <a:pt x="19" y="97"/>
                  </a:cubicBezTo>
                  <a:cubicBezTo>
                    <a:pt x="26" y="68"/>
                    <a:pt x="42" y="44"/>
                    <a:pt x="68" y="27"/>
                  </a:cubicBezTo>
                  <a:cubicBezTo>
                    <a:pt x="87" y="14"/>
                    <a:pt x="109" y="6"/>
                    <a:pt x="133" y="5"/>
                  </a:cubicBezTo>
                  <a:cubicBezTo>
                    <a:pt x="149" y="4"/>
                    <a:pt x="165" y="5"/>
                    <a:pt x="181" y="6"/>
                  </a:cubicBezTo>
                  <a:cubicBezTo>
                    <a:pt x="204" y="8"/>
                    <a:pt x="225" y="20"/>
                    <a:pt x="243" y="35"/>
                  </a:cubicBezTo>
                  <a:cubicBezTo>
                    <a:pt x="246" y="37"/>
                    <a:pt x="246" y="40"/>
                    <a:pt x="244" y="43"/>
                  </a:cubicBezTo>
                  <a:cubicBezTo>
                    <a:pt x="242" y="47"/>
                    <a:pt x="239" y="52"/>
                    <a:pt x="236" y="55"/>
                  </a:cubicBezTo>
                  <a:cubicBezTo>
                    <a:pt x="226" y="65"/>
                    <a:pt x="224" y="65"/>
                    <a:pt x="206" y="54"/>
                  </a:cubicBezTo>
                  <a:cubicBezTo>
                    <a:pt x="193" y="46"/>
                    <a:pt x="180" y="40"/>
                    <a:pt x="165" y="41"/>
                  </a:cubicBezTo>
                  <a:cubicBezTo>
                    <a:pt x="151" y="41"/>
                    <a:pt x="137" y="39"/>
                    <a:pt x="124" y="42"/>
                  </a:cubicBezTo>
                  <a:cubicBezTo>
                    <a:pt x="104" y="46"/>
                    <a:pt x="87" y="57"/>
                    <a:pt x="75" y="74"/>
                  </a:cubicBezTo>
                  <a:cubicBezTo>
                    <a:pt x="56" y="99"/>
                    <a:pt x="51" y="129"/>
                    <a:pt x="55" y="159"/>
                  </a:cubicBezTo>
                  <a:cubicBezTo>
                    <a:pt x="60" y="189"/>
                    <a:pt x="73" y="214"/>
                    <a:pt x="98" y="230"/>
                  </a:cubicBezTo>
                  <a:cubicBezTo>
                    <a:pt x="109" y="237"/>
                    <a:pt x="121" y="242"/>
                    <a:pt x="135" y="241"/>
                  </a:cubicBezTo>
                  <a:cubicBezTo>
                    <a:pt x="146" y="241"/>
                    <a:pt x="158" y="241"/>
                    <a:pt x="169" y="241"/>
                  </a:cubicBezTo>
                  <a:cubicBezTo>
                    <a:pt x="182" y="242"/>
                    <a:pt x="193" y="235"/>
                    <a:pt x="205" y="232"/>
                  </a:cubicBezTo>
                  <a:cubicBezTo>
                    <a:pt x="210" y="231"/>
                    <a:pt x="211" y="227"/>
                    <a:pt x="211" y="224"/>
                  </a:cubicBezTo>
                  <a:cubicBezTo>
                    <a:pt x="211" y="210"/>
                    <a:pt x="211" y="196"/>
                    <a:pt x="211" y="183"/>
                  </a:cubicBezTo>
                  <a:cubicBezTo>
                    <a:pt x="211" y="177"/>
                    <a:pt x="207" y="175"/>
                    <a:pt x="202" y="175"/>
                  </a:cubicBezTo>
                  <a:cubicBezTo>
                    <a:pt x="193" y="175"/>
                    <a:pt x="184" y="175"/>
                    <a:pt x="175" y="175"/>
                  </a:cubicBezTo>
                  <a:cubicBezTo>
                    <a:pt x="171" y="175"/>
                    <a:pt x="168" y="174"/>
                    <a:pt x="166" y="171"/>
                  </a:cubicBezTo>
                  <a:cubicBezTo>
                    <a:pt x="163" y="163"/>
                    <a:pt x="164" y="154"/>
                    <a:pt x="166" y="146"/>
                  </a:cubicBezTo>
                  <a:cubicBezTo>
                    <a:pt x="167" y="142"/>
                    <a:pt x="171" y="142"/>
                    <a:pt x="175" y="142"/>
                  </a:cubicBezTo>
                  <a:cubicBezTo>
                    <a:pt x="196" y="142"/>
                    <a:pt x="217" y="142"/>
                    <a:pt x="238" y="142"/>
                  </a:cubicBezTo>
                  <a:cubicBezTo>
                    <a:pt x="247" y="142"/>
                    <a:pt x="248" y="148"/>
                    <a:pt x="248" y="155"/>
                  </a:cubicBezTo>
                  <a:cubicBezTo>
                    <a:pt x="249" y="169"/>
                    <a:pt x="248" y="183"/>
                    <a:pt x="248" y="198"/>
                  </a:cubicBezTo>
                  <a:close/>
                  <a:moveTo>
                    <a:pt x="884" y="1181"/>
                  </a:moveTo>
                  <a:cubicBezTo>
                    <a:pt x="889" y="1167"/>
                    <a:pt x="894" y="1152"/>
                    <a:pt x="898" y="1137"/>
                  </a:cubicBezTo>
                  <a:cubicBezTo>
                    <a:pt x="901" y="1127"/>
                    <a:pt x="905" y="1116"/>
                    <a:pt x="908" y="1106"/>
                  </a:cubicBezTo>
                  <a:cubicBezTo>
                    <a:pt x="911" y="1098"/>
                    <a:pt x="912" y="1089"/>
                    <a:pt x="916" y="1081"/>
                  </a:cubicBezTo>
                  <a:cubicBezTo>
                    <a:pt x="921" y="1072"/>
                    <a:pt x="923" y="1060"/>
                    <a:pt x="927" y="1050"/>
                  </a:cubicBezTo>
                  <a:cubicBezTo>
                    <a:pt x="932" y="1037"/>
                    <a:pt x="934" y="1023"/>
                    <a:pt x="940" y="1010"/>
                  </a:cubicBezTo>
                  <a:cubicBezTo>
                    <a:pt x="945" y="1001"/>
                    <a:pt x="941" y="995"/>
                    <a:pt x="931" y="995"/>
                  </a:cubicBezTo>
                  <a:cubicBezTo>
                    <a:pt x="927" y="995"/>
                    <a:pt x="922" y="995"/>
                    <a:pt x="918" y="995"/>
                  </a:cubicBezTo>
                  <a:cubicBezTo>
                    <a:pt x="913" y="995"/>
                    <a:pt x="908" y="997"/>
                    <a:pt x="907" y="1001"/>
                  </a:cubicBezTo>
                  <a:cubicBezTo>
                    <a:pt x="904" y="1008"/>
                    <a:pt x="900" y="1015"/>
                    <a:pt x="899" y="1023"/>
                  </a:cubicBezTo>
                  <a:cubicBezTo>
                    <a:pt x="897" y="1034"/>
                    <a:pt x="893" y="1045"/>
                    <a:pt x="889" y="1055"/>
                  </a:cubicBezTo>
                  <a:cubicBezTo>
                    <a:pt x="887" y="1064"/>
                    <a:pt x="885" y="1072"/>
                    <a:pt x="882" y="1080"/>
                  </a:cubicBezTo>
                  <a:cubicBezTo>
                    <a:pt x="878" y="1091"/>
                    <a:pt x="874" y="1103"/>
                    <a:pt x="871" y="1115"/>
                  </a:cubicBezTo>
                  <a:cubicBezTo>
                    <a:pt x="870" y="1118"/>
                    <a:pt x="871" y="1124"/>
                    <a:pt x="866" y="1124"/>
                  </a:cubicBezTo>
                  <a:cubicBezTo>
                    <a:pt x="861" y="1125"/>
                    <a:pt x="859" y="1120"/>
                    <a:pt x="858" y="1115"/>
                  </a:cubicBezTo>
                  <a:cubicBezTo>
                    <a:pt x="856" y="1110"/>
                    <a:pt x="856" y="1104"/>
                    <a:pt x="854" y="1099"/>
                  </a:cubicBezTo>
                  <a:cubicBezTo>
                    <a:pt x="848" y="1080"/>
                    <a:pt x="841" y="1062"/>
                    <a:pt x="835" y="1044"/>
                  </a:cubicBezTo>
                  <a:cubicBezTo>
                    <a:pt x="831" y="1030"/>
                    <a:pt x="828" y="1016"/>
                    <a:pt x="822" y="1003"/>
                  </a:cubicBezTo>
                  <a:cubicBezTo>
                    <a:pt x="819" y="997"/>
                    <a:pt x="814" y="994"/>
                    <a:pt x="808" y="994"/>
                  </a:cubicBezTo>
                  <a:cubicBezTo>
                    <a:pt x="799" y="993"/>
                    <a:pt x="791" y="993"/>
                    <a:pt x="787" y="1001"/>
                  </a:cubicBezTo>
                  <a:cubicBezTo>
                    <a:pt x="783" y="1008"/>
                    <a:pt x="780" y="1015"/>
                    <a:pt x="779" y="1022"/>
                  </a:cubicBezTo>
                  <a:cubicBezTo>
                    <a:pt x="778" y="1034"/>
                    <a:pt x="772" y="1044"/>
                    <a:pt x="769" y="1055"/>
                  </a:cubicBezTo>
                  <a:cubicBezTo>
                    <a:pt x="762" y="1076"/>
                    <a:pt x="754" y="1096"/>
                    <a:pt x="749" y="1117"/>
                  </a:cubicBezTo>
                  <a:cubicBezTo>
                    <a:pt x="748" y="1120"/>
                    <a:pt x="747" y="1124"/>
                    <a:pt x="742" y="1124"/>
                  </a:cubicBezTo>
                  <a:cubicBezTo>
                    <a:pt x="737" y="1124"/>
                    <a:pt x="737" y="1120"/>
                    <a:pt x="736" y="1116"/>
                  </a:cubicBezTo>
                  <a:cubicBezTo>
                    <a:pt x="734" y="1104"/>
                    <a:pt x="730" y="1092"/>
                    <a:pt x="726" y="1080"/>
                  </a:cubicBezTo>
                  <a:cubicBezTo>
                    <a:pt x="720" y="1061"/>
                    <a:pt x="714" y="1040"/>
                    <a:pt x="708" y="1020"/>
                  </a:cubicBezTo>
                  <a:cubicBezTo>
                    <a:pt x="703" y="1000"/>
                    <a:pt x="698" y="994"/>
                    <a:pt x="676" y="995"/>
                  </a:cubicBezTo>
                  <a:cubicBezTo>
                    <a:pt x="665" y="996"/>
                    <a:pt x="661" y="1001"/>
                    <a:pt x="667" y="1011"/>
                  </a:cubicBezTo>
                  <a:cubicBezTo>
                    <a:pt x="669" y="1016"/>
                    <a:pt x="670" y="1021"/>
                    <a:pt x="672" y="1025"/>
                  </a:cubicBezTo>
                  <a:cubicBezTo>
                    <a:pt x="675" y="1035"/>
                    <a:pt x="678" y="1046"/>
                    <a:pt x="681" y="1055"/>
                  </a:cubicBezTo>
                  <a:cubicBezTo>
                    <a:pt x="685" y="1068"/>
                    <a:pt x="689" y="1080"/>
                    <a:pt x="693" y="1092"/>
                  </a:cubicBezTo>
                  <a:cubicBezTo>
                    <a:pt x="697" y="1103"/>
                    <a:pt x="699" y="1113"/>
                    <a:pt x="703" y="1124"/>
                  </a:cubicBezTo>
                  <a:cubicBezTo>
                    <a:pt x="707" y="1136"/>
                    <a:pt x="711" y="1147"/>
                    <a:pt x="715" y="1160"/>
                  </a:cubicBezTo>
                  <a:cubicBezTo>
                    <a:pt x="717" y="1168"/>
                    <a:pt x="720" y="1176"/>
                    <a:pt x="724" y="1183"/>
                  </a:cubicBezTo>
                  <a:cubicBezTo>
                    <a:pt x="728" y="1189"/>
                    <a:pt x="752" y="1185"/>
                    <a:pt x="757" y="1180"/>
                  </a:cubicBezTo>
                  <a:cubicBezTo>
                    <a:pt x="764" y="1173"/>
                    <a:pt x="762" y="1163"/>
                    <a:pt x="766" y="1156"/>
                  </a:cubicBezTo>
                  <a:cubicBezTo>
                    <a:pt x="774" y="1140"/>
                    <a:pt x="778" y="1122"/>
                    <a:pt x="784" y="1105"/>
                  </a:cubicBezTo>
                  <a:cubicBezTo>
                    <a:pt x="789" y="1088"/>
                    <a:pt x="796" y="1072"/>
                    <a:pt x="800" y="1054"/>
                  </a:cubicBezTo>
                  <a:cubicBezTo>
                    <a:pt x="800" y="1053"/>
                    <a:pt x="801" y="1050"/>
                    <a:pt x="803" y="1050"/>
                  </a:cubicBezTo>
                  <a:cubicBezTo>
                    <a:pt x="806" y="1050"/>
                    <a:pt x="806" y="1052"/>
                    <a:pt x="807" y="1055"/>
                  </a:cubicBezTo>
                  <a:cubicBezTo>
                    <a:pt x="807" y="1060"/>
                    <a:pt x="810" y="1066"/>
                    <a:pt x="811" y="1071"/>
                  </a:cubicBezTo>
                  <a:cubicBezTo>
                    <a:pt x="814" y="1081"/>
                    <a:pt x="818" y="1090"/>
                    <a:pt x="821" y="1099"/>
                  </a:cubicBezTo>
                  <a:cubicBezTo>
                    <a:pt x="824" y="1110"/>
                    <a:pt x="827" y="1120"/>
                    <a:pt x="831" y="1131"/>
                  </a:cubicBezTo>
                  <a:cubicBezTo>
                    <a:pt x="834" y="1142"/>
                    <a:pt x="839" y="1153"/>
                    <a:pt x="842" y="1164"/>
                  </a:cubicBezTo>
                  <a:cubicBezTo>
                    <a:pt x="846" y="1179"/>
                    <a:pt x="850" y="1188"/>
                    <a:pt x="869" y="1185"/>
                  </a:cubicBezTo>
                  <a:cubicBezTo>
                    <a:pt x="873" y="1184"/>
                    <a:pt x="881" y="1189"/>
                    <a:pt x="884" y="1181"/>
                  </a:cubicBezTo>
                  <a:close/>
                  <a:moveTo>
                    <a:pt x="33" y="1051"/>
                  </a:moveTo>
                  <a:cubicBezTo>
                    <a:pt x="33" y="1087"/>
                    <a:pt x="33" y="1124"/>
                    <a:pt x="33" y="1160"/>
                  </a:cubicBezTo>
                  <a:cubicBezTo>
                    <a:pt x="33" y="1188"/>
                    <a:pt x="29" y="1184"/>
                    <a:pt x="58" y="1185"/>
                  </a:cubicBezTo>
                  <a:cubicBezTo>
                    <a:pt x="72" y="1185"/>
                    <a:pt x="73" y="1184"/>
                    <a:pt x="73" y="1170"/>
                  </a:cubicBezTo>
                  <a:cubicBezTo>
                    <a:pt x="73" y="1138"/>
                    <a:pt x="73" y="1107"/>
                    <a:pt x="73" y="1076"/>
                  </a:cubicBezTo>
                  <a:cubicBezTo>
                    <a:pt x="73" y="1071"/>
                    <a:pt x="72" y="1067"/>
                    <a:pt x="78" y="1065"/>
                  </a:cubicBezTo>
                  <a:cubicBezTo>
                    <a:pt x="91" y="1062"/>
                    <a:pt x="102" y="1067"/>
                    <a:pt x="110" y="1076"/>
                  </a:cubicBezTo>
                  <a:cubicBezTo>
                    <a:pt x="112" y="1080"/>
                    <a:pt x="115" y="1083"/>
                    <a:pt x="118" y="1086"/>
                  </a:cubicBezTo>
                  <a:cubicBezTo>
                    <a:pt x="132" y="1103"/>
                    <a:pt x="146" y="1119"/>
                    <a:pt x="161" y="1136"/>
                  </a:cubicBezTo>
                  <a:cubicBezTo>
                    <a:pt x="173" y="1150"/>
                    <a:pt x="186" y="1165"/>
                    <a:pt x="198" y="1179"/>
                  </a:cubicBezTo>
                  <a:cubicBezTo>
                    <a:pt x="207" y="1188"/>
                    <a:pt x="218" y="1184"/>
                    <a:pt x="228" y="1185"/>
                  </a:cubicBezTo>
                  <a:cubicBezTo>
                    <a:pt x="233" y="1185"/>
                    <a:pt x="241" y="1188"/>
                    <a:pt x="244" y="1182"/>
                  </a:cubicBezTo>
                  <a:cubicBezTo>
                    <a:pt x="246" y="1178"/>
                    <a:pt x="239" y="1173"/>
                    <a:pt x="235" y="1169"/>
                  </a:cubicBezTo>
                  <a:cubicBezTo>
                    <a:pt x="206" y="1133"/>
                    <a:pt x="176" y="1098"/>
                    <a:pt x="146" y="1062"/>
                  </a:cubicBezTo>
                  <a:cubicBezTo>
                    <a:pt x="141" y="1056"/>
                    <a:pt x="131" y="1052"/>
                    <a:pt x="132" y="1044"/>
                  </a:cubicBezTo>
                  <a:cubicBezTo>
                    <a:pt x="132" y="1036"/>
                    <a:pt x="142" y="1032"/>
                    <a:pt x="147" y="1026"/>
                  </a:cubicBezTo>
                  <a:cubicBezTo>
                    <a:pt x="164" y="1006"/>
                    <a:pt x="182" y="988"/>
                    <a:pt x="198" y="968"/>
                  </a:cubicBezTo>
                  <a:cubicBezTo>
                    <a:pt x="209" y="954"/>
                    <a:pt x="221" y="942"/>
                    <a:pt x="234" y="929"/>
                  </a:cubicBezTo>
                  <a:cubicBezTo>
                    <a:pt x="236" y="926"/>
                    <a:pt x="238" y="923"/>
                    <a:pt x="237" y="920"/>
                  </a:cubicBezTo>
                  <a:cubicBezTo>
                    <a:pt x="235" y="915"/>
                    <a:pt x="231" y="917"/>
                    <a:pt x="228" y="917"/>
                  </a:cubicBezTo>
                  <a:cubicBezTo>
                    <a:pt x="224" y="918"/>
                    <a:pt x="221" y="918"/>
                    <a:pt x="217" y="918"/>
                  </a:cubicBezTo>
                  <a:cubicBezTo>
                    <a:pt x="204" y="917"/>
                    <a:pt x="193" y="922"/>
                    <a:pt x="185" y="931"/>
                  </a:cubicBezTo>
                  <a:cubicBezTo>
                    <a:pt x="172" y="946"/>
                    <a:pt x="158" y="961"/>
                    <a:pt x="145" y="977"/>
                  </a:cubicBezTo>
                  <a:cubicBezTo>
                    <a:pt x="131" y="993"/>
                    <a:pt x="117" y="1010"/>
                    <a:pt x="102" y="1026"/>
                  </a:cubicBezTo>
                  <a:cubicBezTo>
                    <a:pt x="96" y="1032"/>
                    <a:pt x="87" y="1037"/>
                    <a:pt x="78" y="1034"/>
                  </a:cubicBezTo>
                  <a:cubicBezTo>
                    <a:pt x="70" y="1030"/>
                    <a:pt x="73" y="1021"/>
                    <a:pt x="73" y="1015"/>
                  </a:cubicBezTo>
                  <a:cubicBezTo>
                    <a:pt x="73" y="991"/>
                    <a:pt x="73" y="967"/>
                    <a:pt x="73" y="944"/>
                  </a:cubicBezTo>
                  <a:cubicBezTo>
                    <a:pt x="73" y="916"/>
                    <a:pt x="75" y="917"/>
                    <a:pt x="46" y="918"/>
                  </a:cubicBezTo>
                  <a:cubicBezTo>
                    <a:pt x="33" y="918"/>
                    <a:pt x="33" y="918"/>
                    <a:pt x="33" y="931"/>
                  </a:cubicBezTo>
                  <a:cubicBezTo>
                    <a:pt x="33" y="971"/>
                    <a:pt x="33" y="1011"/>
                    <a:pt x="33" y="1051"/>
                  </a:cubicBezTo>
                  <a:cubicBezTo>
                    <a:pt x="33" y="1051"/>
                    <a:pt x="33" y="1051"/>
                    <a:pt x="33" y="1051"/>
                  </a:cubicBezTo>
                  <a:close/>
                  <a:moveTo>
                    <a:pt x="639" y="84"/>
                  </a:moveTo>
                  <a:cubicBezTo>
                    <a:pt x="627" y="84"/>
                    <a:pt x="626" y="84"/>
                    <a:pt x="629" y="95"/>
                  </a:cubicBezTo>
                  <a:cubicBezTo>
                    <a:pt x="634" y="113"/>
                    <a:pt x="640" y="131"/>
                    <a:pt x="646" y="148"/>
                  </a:cubicBezTo>
                  <a:cubicBezTo>
                    <a:pt x="652" y="166"/>
                    <a:pt x="658" y="185"/>
                    <a:pt x="664" y="203"/>
                  </a:cubicBezTo>
                  <a:cubicBezTo>
                    <a:pt x="671" y="223"/>
                    <a:pt x="676" y="244"/>
                    <a:pt x="684" y="264"/>
                  </a:cubicBezTo>
                  <a:cubicBezTo>
                    <a:pt x="688" y="274"/>
                    <a:pt x="694" y="274"/>
                    <a:pt x="702" y="274"/>
                  </a:cubicBezTo>
                  <a:cubicBezTo>
                    <a:pt x="711" y="274"/>
                    <a:pt x="719" y="272"/>
                    <a:pt x="723" y="263"/>
                  </a:cubicBezTo>
                  <a:cubicBezTo>
                    <a:pt x="733" y="236"/>
                    <a:pt x="741" y="208"/>
                    <a:pt x="750" y="181"/>
                  </a:cubicBezTo>
                  <a:cubicBezTo>
                    <a:pt x="754" y="169"/>
                    <a:pt x="757" y="156"/>
                    <a:pt x="763" y="145"/>
                  </a:cubicBezTo>
                  <a:cubicBezTo>
                    <a:pt x="764" y="143"/>
                    <a:pt x="764" y="140"/>
                    <a:pt x="767" y="140"/>
                  </a:cubicBezTo>
                  <a:cubicBezTo>
                    <a:pt x="770" y="140"/>
                    <a:pt x="770" y="143"/>
                    <a:pt x="771" y="145"/>
                  </a:cubicBezTo>
                  <a:cubicBezTo>
                    <a:pt x="771" y="156"/>
                    <a:pt x="777" y="165"/>
                    <a:pt x="780" y="175"/>
                  </a:cubicBezTo>
                  <a:cubicBezTo>
                    <a:pt x="782" y="184"/>
                    <a:pt x="785" y="193"/>
                    <a:pt x="788" y="201"/>
                  </a:cubicBezTo>
                  <a:cubicBezTo>
                    <a:pt x="794" y="219"/>
                    <a:pt x="801" y="237"/>
                    <a:pt x="806" y="255"/>
                  </a:cubicBezTo>
                  <a:cubicBezTo>
                    <a:pt x="811" y="272"/>
                    <a:pt x="825" y="280"/>
                    <a:pt x="842" y="273"/>
                  </a:cubicBezTo>
                  <a:cubicBezTo>
                    <a:pt x="845" y="271"/>
                    <a:pt x="847" y="269"/>
                    <a:pt x="848" y="266"/>
                  </a:cubicBezTo>
                  <a:cubicBezTo>
                    <a:pt x="853" y="251"/>
                    <a:pt x="859" y="236"/>
                    <a:pt x="863" y="221"/>
                  </a:cubicBezTo>
                  <a:cubicBezTo>
                    <a:pt x="867" y="202"/>
                    <a:pt x="875" y="185"/>
                    <a:pt x="880" y="166"/>
                  </a:cubicBezTo>
                  <a:cubicBezTo>
                    <a:pt x="886" y="144"/>
                    <a:pt x="895" y="123"/>
                    <a:pt x="900" y="101"/>
                  </a:cubicBezTo>
                  <a:cubicBezTo>
                    <a:pt x="901" y="96"/>
                    <a:pt x="909" y="91"/>
                    <a:pt x="904" y="86"/>
                  </a:cubicBezTo>
                  <a:cubicBezTo>
                    <a:pt x="900" y="81"/>
                    <a:pt x="892" y="84"/>
                    <a:pt x="886" y="84"/>
                  </a:cubicBezTo>
                  <a:cubicBezTo>
                    <a:pt x="885" y="84"/>
                    <a:pt x="883" y="84"/>
                    <a:pt x="881" y="84"/>
                  </a:cubicBezTo>
                  <a:cubicBezTo>
                    <a:pt x="875" y="84"/>
                    <a:pt x="872" y="86"/>
                    <a:pt x="869" y="91"/>
                  </a:cubicBezTo>
                  <a:cubicBezTo>
                    <a:pt x="860" y="110"/>
                    <a:pt x="856" y="131"/>
                    <a:pt x="850" y="151"/>
                  </a:cubicBezTo>
                  <a:cubicBezTo>
                    <a:pt x="844" y="170"/>
                    <a:pt x="836" y="188"/>
                    <a:pt x="834" y="208"/>
                  </a:cubicBezTo>
                  <a:cubicBezTo>
                    <a:pt x="833" y="211"/>
                    <a:pt x="831" y="214"/>
                    <a:pt x="827" y="214"/>
                  </a:cubicBezTo>
                  <a:cubicBezTo>
                    <a:pt x="823" y="214"/>
                    <a:pt x="822" y="210"/>
                    <a:pt x="822" y="207"/>
                  </a:cubicBezTo>
                  <a:cubicBezTo>
                    <a:pt x="817" y="188"/>
                    <a:pt x="811" y="170"/>
                    <a:pt x="805" y="152"/>
                  </a:cubicBezTo>
                  <a:cubicBezTo>
                    <a:pt x="799" y="133"/>
                    <a:pt x="794" y="114"/>
                    <a:pt x="786" y="96"/>
                  </a:cubicBezTo>
                  <a:cubicBezTo>
                    <a:pt x="783" y="87"/>
                    <a:pt x="779" y="84"/>
                    <a:pt x="770" y="84"/>
                  </a:cubicBezTo>
                  <a:cubicBezTo>
                    <a:pt x="761" y="84"/>
                    <a:pt x="752" y="82"/>
                    <a:pt x="748" y="94"/>
                  </a:cubicBezTo>
                  <a:cubicBezTo>
                    <a:pt x="744" y="109"/>
                    <a:pt x="738" y="123"/>
                    <a:pt x="734" y="138"/>
                  </a:cubicBezTo>
                  <a:cubicBezTo>
                    <a:pt x="729" y="153"/>
                    <a:pt x="724" y="167"/>
                    <a:pt x="719" y="182"/>
                  </a:cubicBezTo>
                  <a:cubicBezTo>
                    <a:pt x="716" y="192"/>
                    <a:pt x="715" y="203"/>
                    <a:pt x="708" y="212"/>
                  </a:cubicBezTo>
                  <a:cubicBezTo>
                    <a:pt x="707" y="214"/>
                    <a:pt x="707" y="217"/>
                    <a:pt x="704" y="217"/>
                  </a:cubicBezTo>
                  <a:cubicBezTo>
                    <a:pt x="701" y="217"/>
                    <a:pt x="701" y="213"/>
                    <a:pt x="700" y="211"/>
                  </a:cubicBezTo>
                  <a:cubicBezTo>
                    <a:pt x="699" y="198"/>
                    <a:pt x="694" y="186"/>
                    <a:pt x="690" y="174"/>
                  </a:cubicBezTo>
                  <a:cubicBezTo>
                    <a:pt x="684" y="153"/>
                    <a:pt x="677" y="131"/>
                    <a:pt x="672" y="110"/>
                  </a:cubicBezTo>
                  <a:cubicBezTo>
                    <a:pt x="667" y="88"/>
                    <a:pt x="663" y="84"/>
                    <a:pt x="645" y="84"/>
                  </a:cubicBezTo>
                  <a:cubicBezTo>
                    <a:pt x="643" y="84"/>
                    <a:pt x="641" y="84"/>
                    <a:pt x="639" y="84"/>
                  </a:cubicBezTo>
                  <a:close/>
                  <a:moveTo>
                    <a:pt x="507" y="711"/>
                  </a:moveTo>
                  <a:cubicBezTo>
                    <a:pt x="507" y="730"/>
                    <a:pt x="507" y="730"/>
                    <a:pt x="526" y="730"/>
                  </a:cubicBezTo>
                  <a:cubicBezTo>
                    <a:pt x="539" y="730"/>
                    <a:pt x="541" y="729"/>
                    <a:pt x="541" y="715"/>
                  </a:cubicBezTo>
                  <a:cubicBezTo>
                    <a:pt x="541" y="677"/>
                    <a:pt x="541" y="638"/>
                    <a:pt x="540" y="600"/>
                  </a:cubicBezTo>
                  <a:cubicBezTo>
                    <a:pt x="540" y="593"/>
                    <a:pt x="543" y="587"/>
                    <a:pt x="548" y="582"/>
                  </a:cubicBezTo>
                  <a:cubicBezTo>
                    <a:pt x="553" y="576"/>
                    <a:pt x="559" y="573"/>
                    <a:pt x="564" y="569"/>
                  </a:cubicBezTo>
                  <a:cubicBezTo>
                    <a:pt x="574" y="564"/>
                    <a:pt x="594" y="566"/>
                    <a:pt x="602" y="574"/>
                  </a:cubicBezTo>
                  <a:cubicBezTo>
                    <a:pt x="611" y="582"/>
                    <a:pt x="614" y="592"/>
                    <a:pt x="614" y="604"/>
                  </a:cubicBezTo>
                  <a:cubicBezTo>
                    <a:pt x="614" y="638"/>
                    <a:pt x="614" y="672"/>
                    <a:pt x="614" y="706"/>
                  </a:cubicBezTo>
                  <a:cubicBezTo>
                    <a:pt x="614" y="730"/>
                    <a:pt x="614" y="730"/>
                    <a:pt x="638" y="730"/>
                  </a:cubicBezTo>
                  <a:cubicBezTo>
                    <a:pt x="650" y="730"/>
                    <a:pt x="650" y="730"/>
                    <a:pt x="650" y="717"/>
                  </a:cubicBezTo>
                  <a:cubicBezTo>
                    <a:pt x="650" y="684"/>
                    <a:pt x="650" y="650"/>
                    <a:pt x="650" y="617"/>
                  </a:cubicBezTo>
                  <a:cubicBezTo>
                    <a:pt x="650" y="606"/>
                    <a:pt x="651" y="597"/>
                    <a:pt x="657" y="586"/>
                  </a:cubicBezTo>
                  <a:cubicBezTo>
                    <a:pt x="667" y="565"/>
                    <a:pt x="703" y="560"/>
                    <a:pt x="716" y="579"/>
                  </a:cubicBezTo>
                  <a:cubicBezTo>
                    <a:pt x="723" y="588"/>
                    <a:pt x="724" y="598"/>
                    <a:pt x="724" y="609"/>
                  </a:cubicBezTo>
                  <a:cubicBezTo>
                    <a:pt x="724" y="645"/>
                    <a:pt x="724" y="682"/>
                    <a:pt x="724" y="718"/>
                  </a:cubicBezTo>
                  <a:cubicBezTo>
                    <a:pt x="724" y="727"/>
                    <a:pt x="727" y="731"/>
                    <a:pt x="736" y="730"/>
                  </a:cubicBezTo>
                  <a:cubicBezTo>
                    <a:pt x="738" y="730"/>
                    <a:pt x="741" y="730"/>
                    <a:pt x="743" y="730"/>
                  </a:cubicBezTo>
                  <a:cubicBezTo>
                    <a:pt x="758" y="730"/>
                    <a:pt x="759" y="729"/>
                    <a:pt x="759" y="715"/>
                  </a:cubicBezTo>
                  <a:cubicBezTo>
                    <a:pt x="759" y="677"/>
                    <a:pt x="758" y="639"/>
                    <a:pt x="759" y="601"/>
                  </a:cubicBezTo>
                  <a:cubicBezTo>
                    <a:pt x="759" y="571"/>
                    <a:pt x="742" y="540"/>
                    <a:pt x="704" y="538"/>
                  </a:cubicBezTo>
                  <a:cubicBezTo>
                    <a:pt x="681" y="536"/>
                    <a:pt x="661" y="542"/>
                    <a:pt x="646" y="560"/>
                  </a:cubicBezTo>
                  <a:cubicBezTo>
                    <a:pt x="638" y="569"/>
                    <a:pt x="638" y="569"/>
                    <a:pt x="631" y="559"/>
                  </a:cubicBezTo>
                  <a:cubicBezTo>
                    <a:pt x="630" y="558"/>
                    <a:pt x="630" y="557"/>
                    <a:pt x="629" y="556"/>
                  </a:cubicBezTo>
                  <a:cubicBezTo>
                    <a:pt x="623" y="548"/>
                    <a:pt x="616" y="541"/>
                    <a:pt x="607" y="539"/>
                  </a:cubicBezTo>
                  <a:cubicBezTo>
                    <a:pt x="584" y="534"/>
                    <a:pt x="563" y="539"/>
                    <a:pt x="545" y="555"/>
                  </a:cubicBezTo>
                  <a:cubicBezTo>
                    <a:pt x="540" y="559"/>
                    <a:pt x="537" y="561"/>
                    <a:pt x="537" y="552"/>
                  </a:cubicBezTo>
                  <a:cubicBezTo>
                    <a:pt x="536" y="543"/>
                    <a:pt x="526" y="538"/>
                    <a:pt x="515" y="539"/>
                  </a:cubicBezTo>
                  <a:cubicBezTo>
                    <a:pt x="506" y="540"/>
                    <a:pt x="507" y="546"/>
                    <a:pt x="507" y="552"/>
                  </a:cubicBezTo>
                  <a:cubicBezTo>
                    <a:pt x="507" y="580"/>
                    <a:pt x="507" y="607"/>
                    <a:pt x="507" y="634"/>
                  </a:cubicBezTo>
                  <a:cubicBezTo>
                    <a:pt x="507" y="660"/>
                    <a:pt x="507" y="685"/>
                    <a:pt x="507" y="711"/>
                  </a:cubicBezTo>
                  <a:close/>
                  <a:moveTo>
                    <a:pt x="1525" y="1142"/>
                  </a:moveTo>
                  <a:cubicBezTo>
                    <a:pt x="1517" y="1143"/>
                    <a:pt x="1511" y="1141"/>
                    <a:pt x="1505" y="1136"/>
                  </a:cubicBezTo>
                  <a:cubicBezTo>
                    <a:pt x="1501" y="1133"/>
                    <a:pt x="1495" y="1130"/>
                    <a:pt x="1498" y="1124"/>
                  </a:cubicBezTo>
                  <a:cubicBezTo>
                    <a:pt x="1500" y="1118"/>
                    <a:pt x="1504" y="1114"/>
                    <a:pt x="1512" y="1114"/>
                  </a:cubicBezTo>
                  <a:cubicBezTo>
                    <a:pt x="1521" y="1115"/>
                    <a:pt x="1530" y="1114"/>
                    <a:pt x="1538" y="1115"/>
                  </a:cubicBezTo>
                  <a:cubicBezTo>
                    <a:pt x="1573" y="1117"/>
                    <a:pt x="1610" y="1084"/>
                    <a:pt x="1602" y="1044"/>
                  </a:cubicBezTo>
                  <a:cubicBezTo>
                    <a:pt x="1600" y="1035"/>
                    <a:pt x="1599" y="1028"/>
                    <a:pt x="1611" y="1027"/>
                  </a:cubicBezTo>
                  <a:cubicBezTo>
                    <a:pt x="1614" y="1027"/>
                    <a:pt x="1617" y="1024"/>
                    <a:pt x="1619" y="1023"/>
                  </a:cubicBezTo>
                  <a:cubicBezTo>
                    <a:pt x="1626" y="1019"/>
                    <a:pt x="1624" y="1013"/>
                    <a:pt x="1623" y="1008"/>
                  </a:cubicBezTo>
                  <a:cubicBezTo>
                    <a:pt x="1623" y="1002"/>
                    <a:pt x="1618" y="1003"/>
                    <a:pt x="1613" y="1002"/>
                  </a:cubicBezTo>
                  <a:cubicBezTo>
                    <a:pt x="1598" y="1002"/>
                    <a:pt x="1582" y="1004"/>
                    <a:pt x="1567" y="1000"/>
                  </a:cubicBezTo>
                  <a:cubicBezTo>
                    <a:pt x="1560" y="999"/>
                    <a:pt x="1554" y="993"/>
                    <a:pt x="1546" y="993"/>
                  </a:cubicBezTo>
                  <a:cubicBezTo>
                    <a:pt x="1536" y="994"/>
                    <a:pt x="1525" y="992"/>
                    <a:pt x="1515" y="993"/>
                  </a:cubicBezTo>
                  <a:cubicBezTo>
                    <a:pt x="1490" y="997"/>
                    <a:pt x="1469" y="1010"/>
                    <a:pt x="1462" y="1034"/>
                  </a:cubicBezTo>
                  <a:cubicBezTo>
                    <a:pt x="1455" y="1056"/>
                    <a:pt x="1457" y="1079"/>
                    <a:pt x="1476" y="1096"/>
                  </a:cubicBezTo>
                  <a:cubicBezTo>
                    <a:pt x="1483" y="1103"/>
                    <a:pt x="1483" y="1107"/>
                    <a:pt x="1476" y="1113"/>
                  </a:cubicBezTo>
                  <a:cubicBezTo>
                    <a:pt x="1462" y="1126"/>
                    <a:pt x="1462" y="1142"/>
                    <a:pt x="1473" y="1157"/>
                  </a:cubicBezTo>
                  <a:cubicBezTo>
                    <a:pt x="1476" y="1160"/>
                    <a:pt x="1476" y="1162"/>
                    <a:pt x="1472" y="1164"/>
                  </a:cubicBezTo>
                  <a:cubicBezTo>
                    <a:pt x="1470" y="1166"/>
                    <a:pt x="1468" y="1168"/>
                    <a:pt x="1466" y="1170"/>
                  </a:cubicBezTo>
                  <a:cubicBezTo>
                    <a:pt x="1449" y="1183"/>
                    <a:pt x="1444" y="1201"/>
                    <a:pt x="1454" y="1218"/>
                  </a:cubicBezTo>
                  <a:cubicBezTo>
                    <a:pt x="1464" y="1235"/>
                    <a:pt x="1479" y="1246"/>
                    <a:pt x="1499" y="1249"/>
                  </a:cubicBezTo>
                  <a:cubicBezTo>
                    <a:pt x="1517" y="1252"/>
                    <a:pt x="1535" y="1253"/>
                    <a:pt x="1553" y="1250"/>
                  </a:cubicBezTo>
                  <a:cubicBezTo>
                    <a:pt x="1584" y="1245"/>
                    <a:pt x="1607" y="1232"/>
                    <a:pt x="1619" y="1200"/>
                  </a:cubicBezTo>
                  <a:cubicBezTo>
                    <a:pt x="1627" y="1180"/>
                    <a:pt x="1611" y="1155"/>
                    <a:pt x="1593" y="1148"/>
                  </a:cubicBezTo>
                  <a:cubicBezTo>
                    <a:pt x="1578" y="1142"/>
                    <a:pt x="1563" y="1143"/>
                    <a:pt x="1549" y="1142"/>
                  </a:cubicBezTo>
                  <a:cubicBezTo>
                    <a:pt x="1540" y="1142"/>
                    <a:pt x="1532" y="1142"/>
                    <a:pt x="1525" y="1142"/>
                  </a:cubicBezTo>
                  <a:close/>
                  <a:moveTo>
                    <a:pt x="1556" y="1172"/>
                  </a:moveTo>
                  <a:cubicBezTo>
                    <a:pt x="1566" y="1172"/>
                    <a:pt x="1576" y="1176"/>
                    <a:pt x="1583" y="1183"/>
                  </a:cubicBezTo>
                  <a:cubicBezTo>
                    <a:pt x="1589" y="1190"/>
                    <a:pt x="1589" y="1198"/>
                    <a:pt x="1583" y="1205"/>
                  </a:cubicBezTo>
                  <a:cubicBezTo>
                    <a:pt x="1575" y="1215"/>
                    <a:pt x="1565" y="1220"/>
                    <a:pt x="1553" y="1223"/>
                  </a:cubicBezTo>
                  <a:cubicBezTo>
                    <a:pt x="1534" y="1228"/>
                    <a:pt x="1516" y="1225"/>
                    <a:pt x="1499" y="1219"/>
                  </a:cubicBezTo>
                  <a:cubicBezTo>
                    <a:pt x="1486" y="1214"/>
                    <a:pt x="1479" y="1203"/>
                    <a:pt x="1482" y="1193"/>
                  </a:cubicBezTo>
                  <a:cubicBezTo>
                    <a:pt x="1485" y="1182"/>
                    <a:pt x="1496" y="1168"/>
                    <a:pt x="1514" y="1171"/>
                  </a:cubicBezTo>
                  <a:cubicBezTo>
                    <a:pt x="1526" y="1173"/>
                    <a:pt x="1541" y="1171"/>
                    <a:pt x="1556" y="1172"/>
                  </a:cubicBezTo>
                  <a:close/>
                  <a:moveTo>
                    <a:pt x="1531" y="1019"/>
                  </a:moveTo>
                  <a:cubicBezTo>
                    <a:pt x="1553" y="1017"/>
                    <a:pt x="1570" y="1033"/>
                    <a:pt x="1570" y="1052"/>
                  </a:cubicBezTo>
                  <a:cubicBezTo>
                    <a:pt x="1570" y="1075"/>
                    <a:pt x="1554" y="1093"/>
                    <a:pt x="1532" y="1091"/>
                  </a:cubicBezTo>
                  <a:cubicBezTo>
                    <a:pt x="1508" y="1089"/>
                    <a:pt x="1494" y="1082"/>
                    <a:pt x="1493" y="1053"/>
                  </a:cubicBezTo>
                  <a:cubicBezTo>
                    <a:pt x="1494" y="1029"/>
                    <a:pt x="1508" y="1020"/>
                    <a:pt x="1531" y="1019"/>
                  </a:cubicBezTo>
                  <a:close/>
                  <a:moveTo>
                    <a:pt x="1413" y="934"/>
                  </a:moveTo>
                  <a:cubicBezTo>
                    <a:pt x="1413" y="909"/>
                    <a:pt x="1413" y="909"/>
                    <a:pt x="1389" y="910"/>
                  </a:cubicBezTo>
                  <a:cubicBezTo>
                    <a:pt x="1388" y="910"/>
                    <a:pt x="1387" y="910"/>
                    <a:pt x="1387" y="910"/>
                  </a:cubicBezTo>
                  <a:cubicBezTo>
                    <a:pt x="1379" y="910"/>
                    <a:pt x="1376" y="915"/>
                    <a:pt x="1376" y="921"/>
                  </a:cubicBezTo>
                  <a:cubicBezTo>
                    <a:pt x="1376" y="939"/>
                    <a:pt x="1377" y="956"/>
                    <a:pt x="1377" y="974"/>
                  </a:cubicBezTo>
                  <a:cubicBezTo>
                    <a:pt x="1377" y="983"/>
                    <a:pt x="1377" y="991"/>
                    <a:pt x="1377" y="1000"/>
                  </a:cubicBezTo>
                  <a:cubicBezTo>
                    <a:pt x="1377" y="1005"/>
                    <a:pt x="1374" y="1009"/>
                    <a:pt x="1369" y="1005"/>
                  </a:cubicBezTo>
                  <a:cubicBezTo>
                    <a:pt x="1352" y="990"/>
                    <a:pt x="1332" y="993"/>
                    <a:pt x="1312" y="993"/>
                  </a:cubicBezTo>
                  <a:cubicBezTo>
                    <a:pt x="1303" y="994"/>
                    <a:pt x="1294" y="998"/>
                    <a:pt x="1287" y="1003"/>
                  </a:cubicBezTo>
                  <a:cubicBezTo>
                    <a:pt x="1265" y="1017"/>
                    <a:pt x="1252" y="1039"/>
                    <a:pt x="1248" y="1065"/>
                  </a:cubicBezTo>
                  <a:cubicBezTo>
                    <a:pt x="1244" y="1096"/>
                    <a:pt x="1244" y="1128"/>
                    <a:pt x="1261" y="1157"/>
                  </a:cubicBezTo>
                  <a:cubicBezTo>
                    <a:pt x="1270" y="1170"/>
                    <a:pt x="1281" y="1181"/>
                    <a:pt x="1296" y="1185"/>
                  </a:cubicBezTo>
                  <a:cubicBezTo>
                    <a:pt x="1323" y="1191"/>
                    <a:pt x="1349" y="1188"/>
                    <a:pt x="1370" y="1167"/>
                  </a:cubicBezTo>
                  <a:cubicBezTo>
                    <a:pt x="1372" y="1165"/>
                    <a:pt x="1375" y="1162"/>
                    <a:pt x="1379" y="1163"/>
                  </a:cubicBezTo>
                  <a:cubicBezTo>
                    <a:pt x="1382" y="1165"/>
                    <a:pt x="1381" y="1169"/>
                    <a:pt x="1381" y="1172"/>
                  </a:cubicBezTo>
                  <a:cubicBezTo>
                    <a:pt x="1383" y="1181"/>
                    <a:pt x="1390" y="1186"/>
                    <a:pt x="1403" y="1186"/>
                  </a:cubicBezTo>
                  <a:cubicBezTo>
                    <a:pt x="1413" y="1185"/>
                    <a:pt x="1413" y="1178"/>
                    <a:pt x="1413" y="1172"/>
                  </a:cubicBezTo>
                  <a:cubicBezTo>
                    <a:pt x="1413" y="1131"/>
                    <a:pt x="1413" y="1090"/>
                    <a:pt x="1413" y="1049"/>
                  </a:cubicBezTo>
                  <a:cubicBezTo>
                    <a:pt x="1413" y="1010"/>
                    <a:pt x="1413" y="972"/>
                    <a:pt x="1413" y="934"/>
                  </a:cubicBezTo>
                  <a:close/>
                  <a:moveTo>
                    <a:pt x="1378" y="1113"/>
                  </a:moveTo>
                  <a:cubicBezTo>
                    <a:pt x="1378" y="1136"/>
                    <a:pt x="1360" y="1155"/>
                    <a:pt x="1337" y="1157"/>
                  </a:cubicBezTo>
                  <a:cubicBezTo>
                    <a:pt x="1319" y="1159"/>
                    <a:pt x="1304" y="1154"/>
                    <a:pt x="1294" y="1139"/>
                  </a:cubicBezTo>
                  <a:cubicBezTo>
                    <a:pt x="1286" y="1128"/>
                    <a:pt x="1283" y="1116"/>
                    <a:pt x="1283" y="1102"/>
                  </a:cubicBezTo>
                  <a:cubicBezTo>
                    <a:pt x="1282" y="1085"/>
                    <a:pt x="1282" y="1067"/>
                    <a:pt x="1290" y="1051"/>
                  </a:cubicBezTo>
                  <a:cubicBezTo>
                    <a:pt x="1297" y="1036"/>
                    <a:pt x="1308" y="1024"/>
                    <a:pt x="1325" y="1022"/>
                  </a:cubicBezTo>
                  <a:cubicBezTo>
                    <a:pt x="1342" y="1020"/>
                    <a:pt x="1358" y="1021"/>
                    <a:pt x="1371" y="1035"/>
                  </a:cubicBezTo>
                  <a:cubicBezTo>
                    <a:pt x="1376" y="1041"/>
                    <a:pt x="1378" y="1046"/>
                    <a:pt x="1378" y="1052"/>
                  </a:cubicBezTo>
                  <a:cubicBezTo>
                    <a:pt x="1378" y="1064"/>
                    <a:pt x="1378" y="1075"/>
                    <a:pt x="1378" y="1086"/>
                  </a:cubicBezTo>
                  <a:cubicBezTo>
                    <a:pt x="1378" y="1086"/>
                    <a:pt x="1378" y="1086"/>
                    <a:pt x="1378" y="1086"/>
                  </a:cubicBezTo>
                  <a:cubicBezTo>
                    <a:pt x="1378" y="1095"/>
                    <a:pt x="1378" y="1104"/>
                    <a:pt x="1378" y="1113"/>
                  </a:cubicBezTo>
                  <a:close/>
                  <a:moveTo>
                    <a:pt x="578" y="259"/>
                  </a:moveTo>
                  <a:cubicBezTo>
                    <a:pt x="603" y="241"/>
                    <a:pt x="611" y="213"/>
                    <a:pt x="614" y="183"/>
                  </a:cubicBezTo>
                  <a:cubicBezTo>
                    <a:pt x="615" y="171"/>
                    <a:pt x="610" y="159"/>
                    <a:pt x="609" y="147"/>
                  </a:cubicBezTo>
                  <a:cubicBezTo>
                    <a:pt x="608" y="137"/>
                    <a:pt x="603" y="129"/>
                    <a:pt x="599" y="121"/>
                  </a:cubicBezTo>
                  <a:cubicBezTo>
                    <a:pt x="579" y="87"/>
                    <a:pt x="527" y="70"/>
                    <a:pt x="488" y="85"/>
                  </a:cubicBezTo>
                  <a:cubicBezTo>
                    <a:pt x="453" y="99"/>
                    <a:pt x="436" y="127"/>
                    <a:pt x="431" y="163"/>
                  </a:cubicBezTo>
                  <a:cubicBezTo>
                    <a:pt x="429" y="180"/>
                    <a:pt x="430" y="196"/>
                    <a:pt x="436" y="213"/>
                  </a:cubicBezTo>
                  <a:cubicBezTo>
                    <a:pt x="439" y="222"/>
                    <a:pt x="442" y="232"/>
                    <a:pt x="447" y="239"/>
                  </a:cubicBezTo>
                  <a:cubicBezTo>
                    <a:pt x="465" y="265"/>
                    <a:pt x="491" y="277"/>
                    <a:pt x="525" y="276"/>
                  </a:cubicBezTo>
                  <a:cubicBezTo>
                    <a:pt x="543" y="278"/>
                    <a:pt x="562" y="271"/>
                    <a:pt x="578" y="259"/>
                  </a:cubicBezTo>
                  <a:close/>
                  <a:moveTo>
                    <a:pt x="471" y="205"/>
                  </a:moveTo>
                  <a:cubicBezTo>
                    <a:pt x="466" y="185"/>
                    <a:pt x="468" y="167"/>
                    <a:pt x="472" y="147"/>
                  </a:cubicBezTo>
                  <a:cubicBezTo>
                    <a:pt x="477" y="130"/>
                    <a:pt x="493" y="116"/>
                    <a:pt x="509" y="112"/>
                  </a:cubicBezTo>
                  <a:cubicBezTo>
                    <a:pt x="525" y="108"/>
                    <a:pt x="539" y="110"/>
                    <a:pt x="553" y="119"/>
                  </a:cubicBezTo>
                  <a:cubicBezTo>
                    <a:pt x="563" y="125"/>
                    <a:pt x="568" y="135"/>
                    <a:pt x="571" y="146"/>
                  </a:cubicBezTo>
                  <a:cubicBezTo>
                    <a:pt x="577" y="167"/>
                    <a:pt x="578" y="189"/>
                    <a:pt x="571" y="211"/>
                  </a:cubicBezTo>
                  <a:cubicBezTo>
                    <a:pt x="565" y="231"/>
                    <a:pt x="549" y="249"/>
                    <a:pt x="521" y="247"/>
                  </a:cubicBezTo>
                  <a:cubicBezTo>
                    <a:pt x="496" y="247"/>
                    <a:pt x="478" y="230"/>
                    <a:pt x="471" y="205"/>
                  </a:cubicBezTo>
                  <a:close/>
                  <a:moveTo>
                    <a:pt x="472" y="1122"/>
                  </a:moveTo>
                  <a:cubicBezTo>
                    <a:pt x="475" y="1136"/>
                    <a:pt x="481" y="1148"/>
                    <a:pt x="491" y="1158"/>
                  </a:cubicBezTo>
                  <a:cubicBezTo>
                    <a:pt x="506" y="1176"/>
                    <a:pt x="524" y="1185"/>
                    <a:pt x="548" y="1187"/>
                  </a:cubicBezTo>
                  <a:cubicBezTo>
                    <a:pt x="568" y="1188"/>
                    <a:pt x="587" y="1187"/>
                    <a:pt x="605" y="1177"/>
                  </a:cubicBezTo>
                  <a:cubicBezTo>
                    <a:pt x="632" y="1162"/>
                    <a:pt x="644" y="1136"/>
                    <a:pt x="649" y="1107"/>
                  </a:cubicBezTo>
                  <a:cubicBezTo>
                    <a:pt x="652" y="1089"/>
                    <a:pt x="649" y="1072"/>
                    <a:pt x="644" y="1054"/>
                  </a:cubicBezTo>
                  <a:cubicBezTo>
                    <a:pt x="638" y="1034"/>
                    <a:pt x="627" y="1019"/>
                    <a:pt x="610" y="1007"/>
                  </a:cubicBezTo>
                  <a:cubicBezTo>
                    <a:pt x="589" y="992"/>
                    <a:pt x="566" y="991"/>
                    <a:pt x="541" y="994"/>
                  </a:cubicBezTo>
                  <a:cubicBezTo>
                    <a:pt x="526" y="995"/>
                    <a:pt x="512" y="1002"/>
                    <a:pt x="500" y="1012"/>
                  </a:cubicBezTo>
                  <a:cubicBezTo>
                    <a:pt x="476" y="1032"/>
                    <a:pt x="469" y="1060"/>
                    <a:pt x="466" y="1095"/>
                  </a:cubicBezTo>
                  <a:cubicBezTo>
                    <a:pt x="465" y="1101"/>
                    <a:pt x="470" y="1111"/>
                    <a:pt x="472" y="1122"/>
                  </a:cubicBezTo>
                  <a:close/>
                  <a:moveTo>
                    <a:pt x="508" y="1113"/>
                  </a:moveTo>
                  <a:cubicBezTo>
                    <a:pt x="505" y="1095"/>
                    <a:pt x="506" y="1078"/>
                    <a:pt x="508" y="1061"/>
                  </a:cubicBezTo>
                  <a:cubicBezTo>
                    <a:pt x="511" y="1042"/>
                    <a:pt x="538" y="1021"/>
                    <a:pt x="554" y="1022"/>
                  </a:cubicBezTo>
                  <a:cubicBezTo>
                    <a:pt x="570" y="1022"/>
                    <a:pt x="586" y="1024"/>
                    <a:pt x="596" y="1037"/>
                  </a:cubicBezTo>
                  <a:cubicBezTo>
                    <a:pt x="602" y="1044"/>
                    <a:pt x="607" y="1052"/>
                    <a:pt x="608" y="1061"/>
                  </a:cubicBezTo>
                  <a:cubicBezTo>
                    <a:pt x="608" y="1064"/>
                    <a:pt x="609" y="1067"/>
                    <a:pt x="610" y="1070"/>
                  </a:cubicBezTo>
                  <a:cubicBezTo>
                    <a:pt x="618" y="1089"/>
                    <a:pt x="612" y="1107"/>
                    <a:pt x="607" y="1125"/>
                  </a:cubicBezTo>
                  <a:cubicBezTo>
                    <a:pt x="601" y="1143"/>
                    <a:pt x="588" y="1160"/>
                    <a:pt x="558" y="1157"/>
                  </a:cubicBezTo>
                  <a:cubicBezTo>
                    <a:pt x="530" y="1157"/>
                    <a:pt x="512" y="1141"/>
                    <a:pt x="508" y="1113"/>
                  </a:cubicBezTo>
                  <a:close/>
                  <a:moveTo>
                    <a:pt x="430" y="716"/>
                  </a:moveTo>
                  <a:cubicBezTo>
                    <a:pt x="450" y="703"/>
                    <a:pt x="459" y="683"/>
                    <a:pt x="464" y="661"/>
                  </a:cubicBezTo>
                  <a:cubicBezTo>
                    <a:pt x="468" y="648"/>
                    <a:pt x="467" y="635"/>
                    <a:pt x="466" y="621"/>
                  </a:cubicBezTo>
                  <a:cubicBezTo>
                    <a:pt x="463" y="592"/>
                    <a:pt x="453" y="567"/>
                    <a:pt x="427" y="550"/>
                  </a:cubicBezTo>
                  <a:cubicBezTo>
                    <a:pt x="401" y="534"/>
                    <a:pt x="372" y="532"/>
                    <a:pt x="345" y="541"/>
                  </a:cubicBezTo>
                  <a:cubicBezTo>
                    <a:pt x="310" y="552"/>
                    <a:pt x="291" y="580"/>
                    <a:pt x="287" y="617"/>
                  </a:cubicBezTo>
                  <a:cubicBezTo>
                    <a:pt x="286" y="629"/>
                    <a:pt x="286" y="641"/>
                    <a:pt x="287" y="654"/>
                  </a:cubicBezTo>
                  <a:cubicBezTo>
                    <a:pt x="289" y="671"/>
                    <a:pt x="295" y="686"/>
                    <a:pt x="306" y="700"/>
                  </a:cubicBezTo>
                  <a:cubicBezTo>
                    <a:pt x="324" y="722"/>
                    <a:pt x="348" y="733"/>
                    <a:pt x="378" y="731"/>
                  </a:cubicBezTo>
                  <a:cubicBezTo>
                    <a:pt x="396" y="733"/>
                    <a:pt x="414" y="727"/>
                    <a:pt x="430" y="716"/>
                  </a:cubicBezTo>
                  <a:close/>
                  <a:moveTo>
                    <a:pt x="331" y="592"/>
                  </a:moveTo>
                  <a:cubicBezTo>
                    <a:pt x="339" y="580"/>
                    <a:pt x="349" y="569"/>
                    <a:pt x="365" y="567"/>
                  </a:cubicBezTo>
                  <a:cubicBezTo>
                    <a:pt x="387" y="564"/>
                    <a:pt x="406" y="568"/>
                    <a:pt x="419" y="588"/>
                  </a:cubicBezTo>
                  <a:cubicBezTo>
                    <a:pt x="423" y="595"/>
                    <a:pt x="426" y="603"/>
                    <a:pt x="427" y="610"/>
                  </a:cubicBezTo>
                  <a:cubicBezTo>
                    <a:pt x="433" y="635"/>
                    <a:pt x="431" y="661"/>
                    <a:pt x="416" y="684"/>
                  </a:cubicBezTo>
                  <a:cubicBezTo>
                    <a:pt x="403" y="706"/>
                    <a:pt x="362" y="708"/>
                    <a:pt x="345" y="692"/>
                  </a:cubicBezTo>
                  <a:cubicBezTo>
                    <a:pt x="329" y="678"/>
                    <a:pt x="323" y="661"/>
                    <a:pt x="323" y="631"/>
                  </a:cubicBezTo>
                  <a:cubicBezTo>
                    <a:pt x="323" y="619"/>
                    <a:pt x="323" y="605"/>
                    <a:pt x="331" y="592"/>
                  </a:cubicBezTo>
                  <a:close/>
                  <a:moveTo>
                    <a:pt x="1073" y="259"/>
                  </a:moveTo>
                  <a:cubicBezTo>
                    <a:pt x="1073" y="269"/>
                    <a:pt x="1075" y="272"/>
                    <a:pt x="1086" y="272"/>
                  </a:cubicBezTo>
                  <a:cubicBezTo>
                    <a:pt x="1088" y="272"/>
                    <a:pt x="1090" y="272"/>
                    <a:pt x="1092" y="272"/>
                  </a:cubicBezTo>
                  <a:cubicBezTo>
                    <a:pt x="1105" y="272"/>
                    <a:pt x="1106" y="271"/>
                    <a:pt x="1106" y="258"/>
                  </a:cubicBezTo>
                  <a:cubicBezTo>
                    <a:pt x="1106" y="221"/>
                    <a:pt x="1106" y="184"/>
                    <a:pt x="1106" y="147"/>
                  </a:cubicBezTo>
                  <a:cubicBezTo>
                    <a:pt x="1106" y="143"/>
                    <a:pt x="1106" y="140"/>
                    <a:pt x="1107" y="137"/>
                  </a:cubicBezTo>
                  <a:cubicBezTo>
                    <a:pt x="1117" y="117"/>
                    <a:pt x="1157" y="104"/>
                    <a:pt x="1177" y="114"/>
                  </a:cubicBezTo>
                  <a:cubicBezTo>
                    <a:pt x="1179" y="115"/>
                    <a:pt x="1180" y="117"/>
                    <a:pt x="1182" y="118"/>
                  </a:cubicBezTo>
                  <a:cubicBezTo>
                    <a:pt x="1194" y="131"/>
                    <a:pt x="1196" y="147"/>
                    <a:pt x="1196" y="163"/>
                  </a:cubicBezTo>
                  <a:cubicBezTo>
                    <a:pt x="1197" y="195"/>
                    <a:pt x="1196" y="226"/>
                    <a:pt x="1196" y="258"/>
                  </a:cubicBezTo>
                  <a:cubicBezTo>
                    <a:pt x="1196" y="271"/>
                    <a:pt x="1197" y="272"/>
                    <a:pt x="1210" y="272"/>
                  </a:cubicBezTo>
                  <a:cubicBezTo>
                    <a:pt x="1212" y="272"/>
                    <a:pt x="1213" y="272"/>
                    <a:pt x="1215" y="272"/>
                  </a:cubicBezTo>
                  <a:cubicBezTo>
                    <a:pt x="1227" y="272"/>
                    <a:pt x="1229" y="270"/>
                    <a:pt x="1229" y="258"/>
                  </a:cubicBezTo>
                  <a:cubicBezTo>
                    <a:pt x="1229" y="222"/>
                    <a:pt x="1229" y="187"/>
                    <a:pt x="1229" y="151"/>
                  </a:cubicBezTo>
                  <a:cubicBezTo>
                    <a:pt x="1229" y="142"/>
                    <a:pt x="1228" y="132"/>
                    <a:pt x="1225" y="123"/>
                  </a:cubicBezTo>
                  <a:cubicBezTo>
                    <a:pt x="1219" y="105"/>
                    <a:pt x="1208" y="91"/>
                    <a:pt x="1189" y="85"/>
                  </a:cubicBezTo>
                  <a:cubicBezTo>
                    <a:pt x="1173" y="80"/>
                    <a:pt x="1156" y="84"/>
                    <a:pt x="1139" y="84"/>
                  </a:cubicBezTo>
                  <a:cubicBezTo>
                    <a:pt x="1137" y="84"/>
                    <a:pt x="1136" y="86"/>
                    <a:pt x="1134" y="87"/>
                  </a:cubicBezTo>
                  <a:cubicBezTo>
                    <a:pt x="1128" y="91"/>
                    <a:pt x="1121" y="96"/>
                    <a:pt x="1115" y="100"/>
                  </a:cubicBezTo>
                  <a:cubicBezTo>
                    <a:pt x="1113" y="102"/>
                    <a:pt x="1111" y="105"/>
                    <a:pt x="1108" y="103"/>
                  </a:cubicBezTo>
                  <a:cubicBezTo>
                    <a:pt x="1105" y="102"/>
                    <a:pt x="1106" y="98"/>
                    <a:pt x="1106" y="96"/>
                  </a:cubicBezTo>
                  <a:cubicBezTo>
                    <a:pt x="1106" y="69"/>
                    <a:pt x="1106" y="43"/>
                    <a:pt x="1106" y="17"/>
                  </a:cubicBezTo>
                  <a:cubicBezTo>
                    <a:pt x="1106" y="0"/>
                    <a:pt x="1106" y="0"/>
                    <a:pt x="1089" y="0"/>
                  </a:cubicBezTo>
                  <a:cubicBezTo>
                    <a:pt x="1074" y="0"/>
                    <a:pt x="1073" y="1"/>
                    <a:pt x="1073" y="16"/>
                  </a:cubicBezTo>
                  <a:cubicBezTo>
                    <a:pt x="1073" y="56"/>
                    <a:pt x="1073" y="96"/>
                    <a:pt x="1073" y="136"/>
                  </a:cubicBezTo>
                  <a:cubicBezTo>
                    <a:pt x="1073" y="177"/>
                    <a:pt x="1073" y="218"/>
                    <a:pt x="1073" y="259"/>
                  </a:cubicBezTo>
                  <a:close/>
                  <a:moveTo>
                    <a:pt x="1150" y="1092"/>
                  </a:moveTo>
                  <a:cubicBezTo>
                    <a:pt x="1168" y="1092"/>
                    <a:pt x="1186" y="1092"/>
                    <a:pt x="1204" y="1092"/>
                  </a:cubicBezTo>
                  <a:cubicBezTo>
                    <a:pt x="1215" y="1092"/>
                    <a:pt x="1218" y="1087"/>
                    <a:pt x="1219" y="1077"/>
                  </a:cubicBezTo>
                  <a:cubicBezTo>
                    <a:pt x="1220" y="1062"/>
                    <a:pt x="1216" y="1049"/>
                    <a:pt x="1210" y="1036"/>
                  </a:cubicBezTo>
                  <a:cubicBezTo>
                    <a:pt x="1204" y="1020"/>
                    <a:pt x="1193" y="1008"/>
                    <a:pt x="1177" y="1001"/>
                  </a:cubicBezTo>
                  <a:cubicBezTo>
                    <a:pt x="1155" y="992"/>
                    <a:pt x="1133" y="991"/>
                    <a:pt x="1109" y="999"/>
                  </a:cubicBezTo>
                  <a:cubicBezTo>
                    <a:pt x="1079" y="1010"/>
                    <a:pt x="1062" y="1031"/>
                    <a:pt x="1056" y="1061"/>
                  </a:cubicBezTo>
                  <a:cubicBezTo>
                    <a:pt x="1051" y="1090"/>
                    <a:pt x="1052" y="1120"/>
                    <a:pt x="1069" y="1148"/>
                  </a:cubicBezTo>
                  <a:cubicBezTo>
                    <a:pt x="1081" y="1169"/>
                    <a:pt x="1100" y="1180"/>
                    <a:pt x="1122" y="1185"/>
                  </a:cubicBezTo>
                  <a:cubicBezTo>
                    <a:pt x="1149" y="1190"/>
                    <a:pt x="1176" y="1186"/>
                    <a:pt x="1200" y="1171"/>
                  </a:cubicBezTo>
                  <a:cubicBezTo>
                    <a:pt x="1206" y="1168"/>
                    <a:pt x="1213" y="1165"/>
                    <a:pt x="1214" y="1157"/>
                  </a:cubicBezTo>
                  <a:cubicBezTo>
                    <a:pt x="1215" y="1147"/>
                    <a:pt x="1202" y="1139"/>
                    <a:pt x="1193" y="1144"/>
                  </a:cubicBezTo>
                  <a:cubicBezTo>
                    <a:pt x="1187" y="1147"/>
                    <a:pt x="1180" y="1150"/>
                    <a:pt x="1174" y="1153"/>
                  </a:cubicBezTo>
                  <a:cubicBezTo>
                    <a:pt x="1158" y="1161"/>
                    <a:pt x="1140" y="1161"/>
                    <a:pt x="1124" y="1155"/>
                  </a:cubicBezTo>
                  <a:cubicBezTo>
                    <a:pt x="1112" y="1151"/>
                    <a:pt x="1102" y="1142"/>
                    <a:pt x="1096" y="1129"/>
                  </a:cubicBezTo>
                  <a:cubicBezTo>
                    <a:pt x="1092" y="1121"/>
                    <a:pt x="1091" y="1112"/>
                    <a:pt x="1089" y="1104"/>
                  </a:cubicBezTo>
                  <a:cubicBezTo>
                    <a:pt x="1087" y="1093"/>
                    <a:pt x="1087" y="1092"/>
                    <a:pt x="1099" y="1092"/>
                  </a:cubicBezTo>
                  <a:cubicBezTo>
                    <a:pt x="1116" y="1092"/>
                    <a:pt x="1133" y="1092"/>
                    <a:pt x="1150" y="1092"/>
                  </a:cubicBezTo>
                  <a:cubicBezTo>
                    <a:pt x="1150" y="1092"/>
                    <a:pt x="1150" y="1092"/>
                    <a:pt x="1150" y="1092"/>
                  </a:cubicBezTo>
                  <a:close/>
                  <a:moveTo>
                    <a:pt x="1099" y="1070"/>
                  </a:moveTo>
                  <a:cubicBezTo>
                    <a:pt x="1092" y="1071"/>
                    <a:pt x="1089" y="1067"/>
                    <a:pt x="1091" y="1060"/>
                  </a:cubicBezTo>
                  <a:cubicBezTo>
                    <a:pt x="1094" y="1045"/>
                    <a:pt x="1108" y="1023"/>
                    <a:pt x="1128" y="1022"/>
                  </a:cubicBezTo>
                  <a:cubicBezTo>
                    <a:pt x="1142" y="1021"/>
                    <a:pt x="1156" y="1018"/>
                    <a:pt x="1168" y="1029"/>
                  </a:cubicBezTo>
                  <a:cubicBezTo>
                    <a:pt x="1181" y="1038"/>
                    <a:pt x="1185" y="1051"/>
                    <a:pt x="1187" y="1066"/>
                  </a:cubicBezTo>
                  <a:cubicBezTo>
                    <a:pt x="1188" y="1071"/>
                    <a:pt x="1183" y="1070"/>
                    <a:pt x="1180" y="1070"/>
                  </a:cubicBezTo>
                  <a:cubicBezTo>
                    <a:pt x="1166" y="1070"/>
                    <a:pt x="1153" y="1070"/>
                    <a:pt x="1139" y="1070"/>
                  </a:cubicBezTo>
                  <a:cubicBezTo>
                    <a:pt x="1139" y="1070"/>
                    <a:pt x="1139" y="1070"/>
                    <a:pt x="1139" y="1070"/>
                  </a:cubicBezTo>
                  <a:cubicBezTo>
                    <a:pt x="1126" y="1070"/>
                    <a:pt x="1113" y="1070"/>
                    <a:pt x="1099" y="1070"/>
                  </a:cubicBezTo>
                  <a:close/>
                  <a:moveTo>
                    <a:pt x="1741" y="1092"/>
                  </a:moveTo>
                  <a:cubicBezTo>
                    <a:pt x="1759" y="1092"/>
                    <a:pt x="1776" y="1092"/>
                    <a:pt x="1793" y="1092"/>
                  </a:cubicBezTo>
                  <a:cubicBezTo>
                    <a:pt x="1806" y="1092"/>
                    <a:pt x="1808" y="1089"/>
                    <a:pt x="1808" y="1076"/>
                  </a:cubicBezTo>
                  <a:cubicBezTo>
                    <a:pt x="1809" y="1063"/>
                    <a:pt x="1807" y="1051"/>
                    <a:pt x="1802" y="1038"/>
                  </a:cubicBezTo>
                  <a:cubicBezTo>
                    <a:pt x="1794" y="1021"/>
                    <a:pt x="1782" y="1008"/>
                    <a:pt x="1764" y="1000"/>
                  </a:cubicBezTo>
                  <a:cubicBezTo>
                    <a:pt x="1742" y="991"/>
                    <a:pt x="1720" y="991"/>
                    <a:pt x="1698" y="1000"/>
                  </a:cubicBezTo>
                  <a:cubicBezTo>
                    <a:pt x="1681" y="1006"/>
                    <a:pt x="1668" y="1016"/>
                    <a:pt x="1659" y="1031"/>
                  </a:cubicBezTo>
                  <a:cubicBezTo>
                    <a:pt x="1646" y="1050"/>
                    <a:pt x="1643" y="1071"/>
                    <a:pt x="1644" y="1094"/>
                  </a:cubicBezTo>
                  <a:cubicBezTo>
                    <a:pt x="1644" y="1110"/>
                    <a:pt x="1647" y="1127"/>
                    <a:pt x="1655" y="1141"/>
                  </a:cubicBezTo>
                  <a:cubicBezTo>
                    <a:pt x="1669" y="1168"/>
                    <a:pt x="1691" y="1183"/>
                    <a:pt x="1722" y="1186"/>
                  </a:cubicBezTo>
                  <a:cubicBezTo>
                    <a:pt x="1750" y="1188"/>
                    <a:pt x="1775" y="1183"/>
                    <a:pt x="1798" y="1165"/>
                  </a:cubicBezTo>
                  <a:cubicBezTo>
                    <a:pt x="1803" y="1161"/>
                    <a:pt x="1806" y="1157"/>
                    <a:pt x="1802" y="1151"/>
                  </a:cubicBezTo>
                  <a:cubicBezTo>
                    <a:pt x="1798" y="1144"/>
                    <a:pt x="1791" y="1140"/>
                    <a:pt x="1783" y="1144"/>
                  </a:cubicBezTo>
                  <a:cubicBezTo>
                    <a:pt x="1778" y="1147"/>
                    <a:pt x="1771" y="1149"/>
                    <a:pt x="1766" y="1152"/>
                  </a:cubicBezTo>
                  <a:cubicBezTo>
                    <a:pt x="1749" y="1161"/>
                    <a:pt x="1730" y="1162"/>
                    <a:pt x="1714" y="1155"/>
                  </a:cubicBezTo>
                  <a:cubicBezTo>
                    <a:pt x="1692" y="1145"/>
                    <a:pt x="1680" y="1127"/>
                    <a:pt x="1679" y="1102"/>
                  </a:cubicBezTo>
                  <a:cubicBezTo>
                    <a:pt x="1678" y="1095"/>
                    <a:pt x="1681" y="1092"/>
                    <a:pt x="1689" y="1092"/>
                  </a:cubicBezTo>
                  <a:cubicBezTo>
                    <a:pt x="1706" y="1092"/>
                    <a:pt x="1724" y="1092"/>
                    <a:pt x="1741" y="1092"/>
                  </a:cubicBezTo>
                  <a:cubicBezTo>
                    <a:pt x="1741" y="1092"/>
                    <a:pt x="1741" y="1092"/>
                    <a:pt x="1741" y="1092"/>
                  </a:cubicBezTo>
                  <a:close/>
                  <a:moveTo>
                    <a:pt x="1690" y="1070"/>
                  </a:moveTo>
                  <a:cubicBezTo>
                    <a:pt x="1683" y="1071"/>
                    <a:pt x="1680" y="1068"/>
                    <a:pt x="1681" y="1062"/>
                  </a:cubicBezTo>
                  <a:cubicBezTo>
                    <a:pt x="1683" y="1048"/>
                    <a:pt x="1697" y="1024"/>
                    <a:pt x="1716" y="1022"/>
                  </a:cubicBezTo>
                  <a:cubicBezTo>
                    <a:pt x="1731" y="1020"/>
                    <a:pt x="1747" y="1018"/>
                    <a:pt x="1760" y="1030"/>
                  </a:cubicBezTo>
                  <a:cubicBezTo>
                    <a:pt x="1771" y="1038"/>
                    <a:pt x="1775" y="1050"/>
                    <a:pt x="1778" y="1062"/>
                  </a:cubicBezTo>
                  <a:cubicBezTo>
                    <a:pt x="1780" y="1068"/>
                    <a:pt x="1775" y="1070"/>
                    <a:pt x="1769" y="1070"/>
                  </a:cubicBezTo>
                  <a:cubicBezTo>
                    <a:pt x="1756" y="1070"/>
                    <a:pt x="1742" y="1070"/>
                    <a:pt x="1729" y="1070"/>
                  </a:cubicBezTo>
                  <a:cubicBezTo>
                    <a:pt x="1729" y="1070"/>
                    <a:pt x="1729" y="1070"/>
                    <a:pt x="1729" y="1070"/>
                  </a:cubicBezTo>
                  <a:cubicBezTo>
                    <a:pt x="1716" y="1070"/>
                    <a:pt x="1703" y="1070"/>
                    <a:pt x="1690" y="1070"/>
                  </a:cubicBezTo>
                  <a:close/>
                  <a:moveTo>
                    <a:pt x="68" y="581"/>
                  </a:moveTo>
                  <a:cubicBezTo>
                    <a:pt x="68" y="573"/>
                    <a:pt x="70" y="568"/>
                    <a:pt x="80" y="569"/>
                  </a:cubicBezTo>
                  <a:cubicBezTo>
                    <a:pt x="90" y="570"/>
                    <a:pt x="101" y="570"/>
                    <a:pt x="111" y="569"/>
                  </a:cubicBezTo>
                  <a:cubicBezTo>
                    <a:pt x="120" y="569"/>
                    <a:pt x="120" y="563"/>
                    <a:pt x="120" y="556"/>
                  </a:cubicBezTo>
                  <a:cubicBezTo>
                    <a:pt x="120" y="549"/>
                    <a:pt x="119" y="544"/>
                    <a:pt x="111" y="544"/>
                  </a:cubicBezTo>
                  <a:cubicBezTo>
                    <a:pt x="104" y="544"/>
                    <a:pt x="97" y="544"/>
                    <a:pt x="91" y="544"/>
                  </a:cubicBezTo>
                  <a:cubicBezTo>
                    <a:pt x="66" y="544"/>
                    <a:pt x="65" y="543"/>
                    <a:pt x="68" y="518"/>
                  </a:cubicBezTo>
                  <a:cubicBezTo>
                    <a:pt x="69" y="504"/>
                    <a:pt x="83" y="487"/>
                    <a:pt x="99" y="489"/>
                  </a:cubicBezTo>
                  <a:cubicBezTo>
                    <a:pt x="103" y="489"/>
                    <a:pt x="107" y="489"/>
                    <a:pt x="110" y="488"/>
                  </a:cubicBezTo>
                  <a:cubicBezTo>
                    <a:pt x="118" y="487"/>
                    <a:pt x="123" y="479"/>
                    <a:pt x="123" y="471"/>
                  </a:cubicBezTo>
                  <a:cubicBezTo>
                    <a:pt x="123" y="461"/>
                    <a:pt x="116" y="462"/>
                    <a:pt x="109" y="460"/>
                  </a:cubicBezTo>
                  <a:cubicBezTo>
                    <a:pt x="100" y="458"/>
                    <a:pt x="92" y="460"/>
                    <a:pt x="84" y="460"/>
                  </a:cubicBezTo>
                  <a:cubicBezTo>
                    <a:pt x="68" y="461"/>
                    <a:pt x="56" y="469"/>
                    <a:pt x="47" y="480"/>
                  </a:cubicBezTo>
                  <a:cubicBezTo>
                    <a:pt x="34" y="493"/>
                    <a:pt x="32" y="511"/>
                    <a:pt x="32" y="529"/>
                  </a:cubicBezTo>
                  <a:cubicBezTo>
                    <a:pt x="32" y="544"/>
                    <a:pt x="32" y="544"/>
                    <a:pt x="17" y="544"/>
                  </a:cubicBezTo>
                  <a:cubicBezTo>
                    <a:pt x="4" y="543"/>
                    <a:pt x="0" y="548"/>
                    <a:pt x="4" y="561"/>
                  </a:cubicBezTo>
                  <a:cubicBezTo>
                    <a:pt x="6" y="569"/>
                    <a:pt x="13" y="568"/>
                    <a:pt x="19" y="569"/>
                  </a:cubicBezTo>
                  <a:cubicBezTo>
                    <a:pt x="32" y="571"/>
                    <a:pt x="32" y="571"/>
                    <a:pt x="32" y="584"/>
                  </a:cubicBezTo>
                  <a:cubicBezTo>
                    <a:pt x="32" y="624"/>
                    <a:pt x="32" y="664"/>
                    <a:pt x="32" y="704"/>
                  </a:cubicBezTo>
                  <a:cubicBezTo>
                    <a:pt x="32" y="731"/>
                    <a:pt x="32" y="730"/>
                    <a:pt x="57" y="731"/>
                  </a:cubicBezTo>
                  <a:cubicBezTo>
                    <a:pt x="66" y="731"/>
                    <a:pt x="68" y="727"/>
                    <a:pt x="68" y="720"/>
                  </a:cubicBezTo>
                  <a:cubicBezTo>
                    <a:pt x="68" y="697"/>
                    <a:pt x="68" y="674"/>
                    <a:pt x="68" y="651"/>
                  </a:cubicBezTo>
                  <a:cubicBezTo>
                    <a:pt x="68" y="628"/>
                    <a:pt x="68" y="605"/>
                    <a:pt x="68" y="581"/>
                  </a:cubicBezTo>
                  <a:close/>
                  <a:moveTo>
                    <a:pt x="278" y="1165"/>
                  </a:moveTo>
                  <a:cubicBezTo>
                    <a:pt x="278" y="1183"/>
                    <a:pt x="278" y="1183"/>
                    <a:pt x="296" y="1184"/>
                  </a:cubicBezTo>
                  <a:cubicBezTo>
                    <a:pt x="310" y="1184"/>
                    <a:pt x="310" y="1184"/>
                    <a:pt x="310" y="1169"/>
                  </a:cubicBezTo>
                  <a:cubicBezTo>
                    <a:pt x="310" y="1132"/>
                    <a:pt x="310" y="1095"/>
                    <a:pt x="310" y="1058"/>
                  </a:cubicBezTo>
                  <a:cubicBezTo>
                    <a:pt x="310" y="1052"/>
                    <a:pt x="312" y="1047"/>
                    <a:pt x="316" y="1042"/>
                  </a:cubicBezTo>
                  <a:cubicBezTo>
                    <a:pt x="324" y="1033"/>
                    <a:pt x="334" y="1027"/>
                    <a:pt x="345" y="1024"/>
                  </a:cubicBezTo>
                  <a:cubicBezTo>
                    <a:pt x="357" y="1020"/>
                    <a:pt x="371" y="1018"/>
                    <a:pt x="383" y="1028"/>
                  </a:cubicBezTo>
                  <a:cubicBezTo>
                    <a:pt x="397" y="1039"/>
                    <a:pt x="401" y="1054"/>
                    <a:pt x="401" y="1071"/>
                  </a:cubicBezTo>
                  <a:cubicBezTo>
                    <a:pt x="401" y="1102"/>
                    <a:pt x="401" y="1132"/>
                    <a:pt x="401" y="1163"/>
                  </a:cubicBezTo>
                  <a:cubicBezTo>
                    <a:pt x="401" y="1183"/>
                    <a:pt x="401" y="1182"/>
                    <a:pt x="420" y="1184"/>
                  </a:cubicBezTo>
                  <a:cubicBezTo>
                    <a:pt x="429" y="1185"/>
                    <a:pt x="433" y="1181"/>
                    <a:pt x="433" y="1173"/>
                  </a:cubicBezTo>
                  <a:cubicBezTo>
                    <a:pt x="432" y="1130"/>
                    <a:pt x="435" y="1087"/>
                    <a:pt x="431" y="1044"/>
                  </a:cubicBezTo>
                  <a:cubicBezTo>
                    <a:pt x="427" y="1014"/>
                    <a:pt x="404" y="996"/>
                    <a:pt x="376" y="994"/>
                  </a:cubicBezTo>
                  <a:cubicBezTo>
                    <a:pt x="353" y="992"/>
                    <a:pt x="333" y="1000"/>
                    <a:pt x="317" y="1017"/>
                  </a:cubicBezTo>
                  <a:cubicBezTo>
                    <a:pt x="312" y="1021"/>
                    <a:pt x="311" y="1019"/>
                    <a:pt x="309" y="1015"/>
                  </a:cubicBezTo>
                  <a:cubicBezTo>
                    <a:pt x="309" y="1013"/>
                    <a:pt x="308" y="1011"/>
                    <a:pt x="308" y="1008"/>
                  </a:cubicBezTo>
                  <a:cubicBezTo>
                    <a:pt x="306" y="1001"/>
                    <a:pt x="298" y="997"/>
                    <a:pt x="287" y="998"/>
                  </a:cubicBezTo>
                  <a:cubicBezTo>
                    <a:pt x="279" y="999"/>
                    <a:pt x="278" y="1004"/>
                    <a:pt x="278" y="1011"/>
                  </a:cubicBezTo>
                  <a:cubicBezTo>
                    <a:pt x="278" y="1037"/>
                    <a:pt x="278" y="1064"/>
                    <a:pt x="278" y="1091"/>
                  </a:cubicBezTo>
                  <a:cubicBezTo>
                    <a:pt x="278" y="1115"/>
                    <a:pt x="278" y="1140"/>
                    <a:pt x="278" y="1165"/>
                  </a:cubicBezTo>
                  <a:close/>
                  <a:moveTo>
                    <a:pt x="150" y="705"/>
                  </a:moveTo>
                  <a:cubicBezTo>
                    <a:pt x="150" y="734"/>
                    <a:pt x="145" y="730"/>
                    <a:pt x="176" y="731"/>
                  </a:cubicBezTo>
                  <a:cubicBezTo>
                    <a:pt x="185" y="731"/>
                    <a:pt x="187" y="727"/>
                    <a:pt x="187" y="719"/>
                  </a:cubicBezTo>
                  <a:cubicBezTo>
                    <a:pt x="187" y="685"/>
                    <a:pt x="187" y="651"/>
                    <a:pt x="187" y="618"/>
                  </a:cubicBezTo>
                  <a:cubicBezTo>
                    <a:pt x="187" y="597"/>
                    <a:pt x="204" y="578"/>
                    <a:pt x="225" y="574"/>
                  </a:cubicBezTo>
                  <a:cubicBezTo>
                    <a:pt x="232" y="572"/>
                    <a:pt x="240" y="574"/>
                    <a:pt x="247" y="575"/>
                  </a:cubicBezTo>
                  <a:cubicBezTo>
                    <a:pt x="257" y="576"/>
                    <a:pt x="261" y="572"/>
                    <a:pt x="265" y="564"/>
                  </a:cubicBezTo>
                  <a:cubicBezTo>
                    <a:pt x="269" y="556"/>
                    <a:pt x="267" y="542"/>
                    <a:pt x="261" y="540"/>
                  </a:cubicBezTo>
                  <a:cubicBezTo>
                    <a:pt x="253" y="538"/>
                    <a:pt x="244" y="534"/>
                    <a:pt x="237" y="536"/>
                  </a:cubicBezTo>
                  <a:cubicBezTo>
                    <a:pt x="228" y="537"/>
                    <a:pt x="217" y="537"/>
                    <a:pt x="209" y="544"/>
                  </a:cubicBezTo>
                  <a:cubicBezTo>
                    <a:pt x="204" y="549"/>
                    <a:pt x="198" y="553"/>
                    <a:pt x="194" y="558"/>
                  </a:cubicBezTo>
                  <a:cubicBezTo>
                    <a:pt x="192" y="561"/>
                    <a:pt x="189" y="563"/>
                    <a:pt x="185" y="562"/>
                  </a:cubicBezTo>
                  <a:cubicBezTo>
                    <a:pt x="182" y="561"/>
                    <a:pt x="182" y="558"/>
                    <a:pt x="182" y="556"/>
                  </a:cubicBezTo>
                  <a:cubicBezTo>
                    <a:pt x="180" y="539"/>
                    <a:pt x="179" y="539"/>
                    <a:pt x="162" y="539"/>
                  </a:cubicBezTo>
                  <a:cubicBezTo>
                    <a:pt x="151" y="539"/>
                    <a:pt x="150" y="540"/>
                    <a:pt x="150" y="551"/>
                  </a:cubicBezTo>
                  <a:cubicBezTo>
                    <a:pt x="150" y="579"/>
                    <a:pt x="150" y="607"/>
                    <a:pt x="150" y="635"/>
                  </a:cubicBezTo>
                  <a:cubicBezTo>
                    <a:pt x="150" y="658"/>
                    <a:pt x="149" y="682"/>
                    <a:pt x="150" y="705"/>
                  </a:cubicBezTo>
                  <a:close/>
                  <a:moveTo>
                    <a:pt x="1011" y="1049"/>
                  </a:moveTo>
                  <a:cubicBezTo>
                    <a:pt x="1011" y="1008"/>
                    <a:pt x="1011" y="966"/>
                    <a:pt x="1011" y="924"/>
                  </a:cubicBezTo>
                  <a:cubicBezTo>
                    <a:pt x="1011" y="913"/>
                    <a:pt x="1008" y="910"/>
                    <a:pt x="997" y="910"/>
                  </a:cubicBezTo>
                  <a:cubicBezTo>
                    <a:pt x="995" y="910"/>
                    <a:pt x="992" y="910"/>
                    <a:pt x="990" y="910"/>
                  </a:cubicBezTo>
                  <a:cubicBezTo>
                    <a:pt x="976" y="910"/>
                    <a:pt x="975" y="911"/>
                    <a:pt x="975" y="926"/>
                  </a:cubicBezTo>
                  <a:cubicBezTo>
                    <a:pt x="975" y="1006"/>
                    <a:pt x="975" y="1085"/>
                    <a:pt x="975" y="1165"/>
                  </a:cubicBezTo>
                  <a:cubicBezTo>
                    <a:pt x="975" y="1185"/>
                    <a:pt x="975" y="1185"/>
                    <a:pt x="994" y="1185"/>
                  </a:cubicBezTo>
                  <a:cubicBezTo>
                    <a:pt x="1009" y="1185"/>
                    <a:pt x="1011" y="1184"/>
                    <a:pt x="1011" y="1169"/>
                  </a:cubicBezTo>
                  <a:cubicBezTo>
                    <a:pt x="1011" y="1129"/>
                    <a:pt x="1011" y="1089"/>
                    <a:pt x="1011" y="1049"/>
                  </a:cubicBezTo>
                  <a:cubicBezTo>
                    <a:pt x="1011" y="1049"/>
                    <a:pt x="1011" y="1049"/>
                    <a:pt x="1011" y="1049"/>
                  </a:cubicBezTo>
                  <a:close/>
                  <a:moveTo>
                    <a:pt x="296" y="176"/>
                  </a:moveTo>
                  <a:cubicBezTo>
                    <a:pt x="296" y="201"/>
                    <a:pt x="296" y="226"/>
                    <a:pt x="296" y="251"/>
                  </a:cubicBezTo>
                  <a:cubicBezTo>
                    <a:pt x="295" y="276"/>
                    <a:pt x="296" y="274"/>
                    <a:pt x="318" y="274"/>
                  </a:cubicBezTo>
                  <a:cubicBezTo>
                    <a:pt x="330" y="274"/>
                    <a:pt x="331" y="274"/>
                    <a:pt x="331" y="260"/>
                  </a:cubicBezTo>
                  <a:cubicBezTo>
                    <a:pt x="331" y="232"/>
                    <a:pt x="331" y="204"/>
                    <a:pt x="331" y="176"/>
                  </a:cubicBezTo>
                  <a:cubicBezTo>
                    <a:pt x="331" y="165"/>
                    <a:pt x="331" y="155"/>
                    <a:pt x="337" y="145"/>
                  </a:cubicBezTo>
                  <a:cubicBezTo>
                    <a:pt x="349" y="123"/>
                    <a:pt x="359" y="117"/>
                    <a:pt x="377" y="118"/>
                  </a:cubicBezTo>
                  <a:cubicBezTo>
                    <a:pt x="383" y="118"/>
                    <a:pt x="389" y="119"/>
                    <a:pt x="395" y="120"/>
                  </a:cubicBezTo>
                  <a:cubicBezTo>
                    <a:pt x="401" y="120"/>
                    <a:pt x="407" y="118"/>
                    <a:pt x="408" y="112"/>
                  </a:cubicBezTo>
                  <a:cubicBezTo>
                    <a:pt x="409" y="103"/>
                    <a:pt x="415" y="93"/>
                    <a:pt x="407" y="85"/>
                  </a:cubicBezTo>
                  <a:cubicBezTo>
                    <a:pt x="406" y="84"/>
                    <a:pt x="404" y="84"/>
                    <a:pt x="402" y="84"/>
                  </a:cubicBezTo>
                  <a:cubicBezTo>
                    <a:pt x="376" y="78"/>
                    <a:pt x="353" y="82"/>
                    <a:pt x="337" y="106"/>
                  </a:cubicBezTo>
                  <a:cubicBezTo>
                    <a:pt x="336" y="108"/>
                    <a:pt x="335" y="110"/>
                    <a:pt x="333" y="109"/>
                  </a:cubicBezTo>
                  <a:cubicBezTo>
                    <a:pt x="331" y="109"/>
                    <a:pt x="330" y="107"/>
                    <a:pt x="330" y="105"/>
                  </a:cubicBezTo>
                  <a:cubicBezTo>
                    <a:pt x="329" y="101"/>
                    <a:pt x="329" y="97"/>
                    <a:pt x="328" y="94"/>
                  </a:cubicBezTo>
                  <a:cubicBezTo>
                    <a:pt x="325" y="85"/>
                    <a:pt x="318" y="82"/>
                    <a:pt x="303" y="84"/>
                  </a:cubicBezTo>
                  <a:cubicBezTo>
                    <a:pt x="297" y="84"/>
                    <a:pt x="295" y="86"/>
                    <a:pt x="295" y="92"/>
                  </a:cubicBezTo>
                  <a:cubicBezTo>
                    <a:pt x="296" y="120"/>
                    <a:pt x="295" y="148"/>
                    <a:pt x="295" y="176"/>
                  </a:cubicBezTo>
                  <a:cubicBezTo>
                    <a:pt x="296" y="176"/>
                    <a:pt x="296" y="176"/>
                    <a:pt x="296" y="176"/>
                  </a:cubicBezTo>
                  <a:close/>
                  <a:moveTo>
                    <a:pt x="946" y="179"/>
                  </a:moveTo>
                  <a:cubicBezTo>
                    <a:pt x="946" y="197"/>
                    <a:pt x="946" y="215"/>
                    <a:pt x="946" y="234"/>
                  </a:cubicBezTo>
                  <a:cubicBezTo>
                    <a:pt x="946" y="248"/>
                    <a:pt x="951" y="260"/>
                    <a:pt x="963" y="268"/>
                  </a:cubicBezTo>
                  <a:cubicBezTo>
                    <a:pt x="982" y="280"/>
                    <a:pt x="1011" y="277"/>
                    <a:pt x="1029" y="264"/>
                  </a:cubicBezTo>
                  <a:cubicBezTo>
                    <a:pt x="1036" y="259"/>
                    <a:pt x="1036" y="254"/>
                    <a:pt x="1032" y="248"/>
                  </a:cubicBezTo>
                  <a:cubicBezTo>
                    <a:pt x="1026" y="239"/>
                    <a:pt x="1020" y="238"/>
                    <a:pt x="1013" y="242"/>
                  </a:cubicBezTo>
                  <a:cubicBezTo>
                    <a:pt x="996" y="252"/>
                    <a:pt x="978" y="243"/>
                    <a:pt x="978" y="223"/>
                  </a:cubicBezTo>
                  <a:cubicBezTo>
                    <a:pt x="978" y="190"/>
                    <a:pt x="978" y="157"/>
                    <a:pt x="978" y="123"/>
                  </a:cubicBezTo>
                  <a:cubicBezTo>
                    <a:pt x="978" y="116"/>
                    <a:pt x="981" y="113"/>
                    <a:pt x="988" y="113"/>
                  </a:cubicBezTo>
                  <a:cubicBezTo>
                    <a:pt x="999" y="114"/>
                    <a:pt x="1011" y="113"/>
                    <a:pt x="1022" y="113"/>
                  </a:cubicBezTo>
                  <a:cubicBezTo>
                    <a:pt x="1028" y="113"/>
                    <a:pt x="1033" y="112"/>
                    <a:pt x="1033" y="104"/>
                  </a:cubicBezTo>
                  <a:cubicBezTo>
                    <a:pt x="1033" y="96"/>
                    <a:pt x="1032" y="90"/>
                    <a:pt x="1022" y="90"/>
                  </a:cubicBezTo>
                  <a:cubicBezTo>
                    <a:pt x="1011" y="90"/>
                    <a:pt x="1001" y="90"/>
                    <a:pt x="990" y="90"/>
                  </a:cubicBezTo>
                  <a:cubicBezTo>
                    <a:pt x="981" y="91"/>
                    <a:pt x="977" y="88"/>
                    <a:pt x="978" y="78"/>
                  </a:cubicBezTo>
                  <a:cubicBezTo>
                    <a:pt x="978" y="64"/>
                    <a:pt x="978" y="49"/>
                    <a:pt x="978" y="35"/>
                  </a:cubicBezTo>
                  <a:cubicBezTo>
                    <a:pt x="978" y="30"/>
                    <a:pt x="978" y="25"/>
                    <a:pt x="971" y="24"/>
                  </a:cubicBezTo>
                  <a:cubicBezTo>
                    <a:pt x="964" y="24"/>
                    <a:pt x="956" y="24"/>
                    <a:pt x="955" y="32"/>
                  </a:cubicBezTo>
                  <a:cubicBezTo>
                    <a:pt x="952" y="43"/>
                    <a:pt x="949" y="54"/>
                    <a:pt x="949" y="65"/>
                  </a:cubicBezTo>
                  <a:cubicBezTo>
                    <a:pt x="948" y="88"/>
                    <a:pt x="947" y="88"/>
                    <a:pt x="924" y="91"/>
                  </a:cubicBezTo>
                  <a:cubicBezTo>
                    <a:pt x="919" y="92"/>
                    <a:pt x="914" y="92"/>
                    <a:pt x="914" y="99"/>
                  </a:cubicBezTo>
                  <a:cubicBezTo>
                    <a:pt x="915" y="107"/>
                    <a:pt x="917" y="113"/>
                    <a:pt x="926" y="113"/>
                  </a:cubicBezTo>
                  <a:cubicBezTo>
                    <a:pt x="929" y="114"/>
                    <a:pt x="932" y="113"/>
                    <a:pt x="935" y="113"/>
                  </a:cubicBezTo>
                  <a:cubicBezTo>
                    <a:pt x="943" y="113"/>
                    <a:pt x="946" y="116"/>
                    <a:pt x="946" y="124"/>
                  </a:cubicBezTo>
                  <a:cubicBezTo>
                    <a:pt x="946" y="142"/>
                    <a:pt x="946" y="161"/>
                    <a:pt x="946" y="179"/>
                  </a:cubicBezTo>
                  <a:cubicBezTo>
                    <a:pt x="946" y="179"/>
                    <a:pt x="946" y="179"/>
                    <a:pt x="946" y="179"/>
                  </a:cubicBezTo>
                  <a:close/>
                </a:path>
              </a:pathLst>
            </a:custGeom>
            <a:solidFill>
              <a:srgbClr val="4C50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  <p:grpSp>
          <p:nvGrpSpPr>
            <p:cNvPr id="18" name="Group 4">
              <a:extLst>
                <a:ext uri="{FF2B5EF4-FFF2-40B4-BE49-F238E27FC236}">
                  <a16:creationId xmlns:a16="http://schemas.microsoft.com/office/drawing/2014/main" id="{57BD2C4C-DC67-B843-B26C-309622FC75F7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34963" y="296652"/>
              <a:ext cx="538094" cy="540000"/>
              <a:chOff x="2711" y="1027"/>
              <a:chExt cx="2258" cy="2266"/>
            </a:xfrm>
          </p:grpSpPr>
          <p:sp>
            <p:nvSpPr>
              <p:cNvPr id="19" name="AutoShape 3">
                <a:extLst>
                  <a:ext uri="{FF2B5EF4-FFF2-40B4-BE49-F238E27FC236}">
                    <a16:creationId xmlns:a16="http://schemas.microsoft.com/office/drawing/2014/main" id="{FE1DC41B-291E-574C-9F2C-874E70A4075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gray">
              <a:xfrm>
                <a:off x="2711" y="1027"/>
                <a:ext cx="2258" cy="22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0" name="Freeform 5">
                <a:extLst>
                  <a:ext uri="{FF2B5EF4-FFF2-40B4-BE49-F238E27FC236}">
                    <a16:creationId xmlns:a16="http://schemas.microsoft.com/office/drawing/2014/main" id="{D4B633C8-F761-C54B-9BD2-EB59D49A2D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09" y="1029"/>
                <a:ext cx="2260" cy="2262"/>
              </a:xfrm>
              <a:custGeom>
                <a:avLst/>
                <a:gdLst>
                  <a:gd name="T0" fmla="*/ 2260 w 2260"/>
                  <a:gd name="T1" fmla="*/ 0 h 2262"/>
                  <a:gd name="T2" fmla="*/ 1612 w 2260"/>
                  <a:gd name="T3" fmla="*/ 649 h 2262"/>
                  <a:gd name="T4" fmla="*/ 1612 w 2260"/>
                  <a:gd name="T5" fmla="*/ 649 h 2262"/>
                  <a:gd name="T6" fmla="*/ 2035 w 2260"/>
                  <a:gd name="T7" fmla="*/ 0 h 2262"/>
                  <a:gd name="T8" fmla="*/ 0 w 2260"/>
                  <a:gd name="T9" fmla="*/ 0 h 2262"/>
                  <a:gd name="T10" fmla="*/ 0 w 2260"/>
                  <a:gd name="T11" fmla="*/ 2262 h 2262"/>
                  <a:gd name="T12" fmla="*/ 2260 w 2260"/>
                  <a:gd name="T13" fmla="*/ 2262 h 2262"/>
                  <a:gd name="T14" fmla="*/ 2260 w 2260"/>
                  <a:gd name="T15" fmla="*/ 0 h 2262"/>
                  <a:gd name="T16" fmla="*/ 2260 w 2260"/>
                  <a:gd name="T17" fmla="*/ 0 h 2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60" h="2262">
                    <a:moveTo>
                      <a:pt x="2260" y="0"/>
                    </a:moveTo>
                    <a:lnTo>
                      <a:pt x="1612" y="649"/>
                    </a:lnTo>
                    <a:lnTo>
                      <a:pt x="1612" y="649"/>
                    </a:lnTo>
                    <a:lnTo>
                      <a:pt x="2035" y="0"/>
                    </a:lnTo>
                    <a:lnTo>
                      <a:pt x="0" y="0"/>
                    </a:lnTo>
                    <a:lnTo>
                      <a:pt x="0" y="2262"/>
                    </a:lnTo>
                    <a:lnTo>
                      <a:pt x="2260" y="2262"/>
                    </a:lnTo>
                    <a:lnTo>
                      <a:pt x="2260" y="0"/>
                    </a:lnTo>
                    <a:lnTo>
                      <a:pt x="2260" y="0"/>
                    </a:lnTo>
                    <a:close/>
                  </a:path>
                </a:pathLst>
              </a:custGeom>
              <a:solidFill>
                <a:srgbClr val="E55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1" name="Freeform 6">
                <a:extLst>
                  <a:ext uri="{FF2B5EF4-FFF2-40B4-BE49-F238E27FC236}">
                    <a16:creationId xmlns:a16="http://schemas.microsoft.com/office/drawing/2014/main" id="{B16BAAE4-1A41-C843-9754-490F7A1E127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623" y="1696"/>
                <a:ext cx="1167" cy="922"/>
              </a:xfrm>
              <a:custGeom>
                <a:avLst/>
                <a:gdLst>
                  <a:gd name="T0" fmla="*/ 411 w 580"/>
                  <a:gd name="T1" fmla="*/ 213 h 458"/>
                  <a:gd name="T2" fmla="*/ 570 w 580"/>
                  <a:gd name="T3" fmla="*/ 37 h 458"/>
                  <a:gd name="T4" fmla="*/ 580 w 580"/>
                  <a:gd name="T5" fmla="*/ 20 h 458"/>
                  <a:gd name="T6" fmla="*/ 545 w 580"/>
                  <a:gd name="T7" fmla="*/ 0 h 458"/>
                  <a:gd name="T8" fmla="*/ 519 w 580"/>
                  <a:gd name="T9" fmla="*/ 16 h 458"/>
                  <a:gd name="T10" fmla="*/ 344 w 580"/>
                  <a:gd name="T11" fmla="*/ 210 h 458"/>
                  <a:gd name="T12" fmla="*/ 334 w 580"/>
                  <a:gd name="T13" fmla="*/ 229 h 458"/>
                  <a:gd name="T14" fmla="*/ 344 w 580"/>
                  <a:gd name="T15" fmla="*/ 248 h 458"/>
                  <a:gd name="T16" fmla="*/ 519 w 580"/>
                  <a:gd name="T17" fmla="*/ 442 h 458"/>
                  <a:gd name="T18" fmla="*/ 545 w 580"/>
                  <a:gd name="T19" fmla="*/ 458 h 458"/>
                  <a:gd name="T20" fmla="*/ 580 w 580"/>
                  <a:gd name="T21" fmla="*/ 438 h 458"/>
                  <a:gd name="T22" fmla="*/ 570 w 580"/>
                  <a:gd name="T23" fmla="*/ 421 h 458"/>
                  <a:gd name="T24" fmla="*/ 411 w 580"/>
                  <a:gd name="T25" fmla="*/ 245 h 458"/>
                  <a:gd name="T26" fmla="*/ 399 w 580"/>
                  <a:gd name="T27" fmla="*/ 229 h 458"/>
                  <a:gd name="T28" fmla="*/ 411 w 580"/>
                  <a:gd name="T29" fmla="*/ 213 h 458"/>
                  <a:gd name="T30" fmla="*/ 252 w 580"/>
                  <a:gd name="T31" fmla="*/ 439 h 458"/>
                  <a:gd name="T32" fmla="*/ 281 w 580"/>
                  <a:gd name="T33" fmla="*/ 454 h 458"/>
                  <a:gd name="T34" fmla="*/ 309 w 580"/>
                  <a:gd name="T35" fmla="*/ 439 h 458"/>
                  <a:gd name="T36" fmla="*/ 309 w 580"/>
                  <a:gd name="T37" fmla="*/ 19 h 458"/>
                  <a:gd name="T38" fmla="*/ 281 w 580"/>
                  <a:gd name="T39" fmla="*/ 4 h 458"/>
                  <a:gd name="T40" fmla="*/ 252 w 580"/>
                  <a:gd name="T41" fmla="*/ 19 h 458"/>
                  <a:gd name="T42" fmla="*/ 252 w 580"/>
                  <a:gd name="T43" fmla="*/ 439 h 458"/>
                  <a:gd name="T44" fmla="*/ 0 w 580"/>
                  <a:gd name="T45" fmla="*/ 439 h 458"/>
                  <a:gd name="T46" fmla="*/ 28 w 580"/>
                  <a:gd name="T47" fmla="*/ 454 h 458"/>
                  <a:gd name="T48" fmla="*/ 56 w 580"/>
                  <a:gd name="T49" fmla="*/ 439 h 458"/>
                  <a:gd name="T50" fmla="*/ 56 w 580"/>
                  <a:gd name="T51" fmla="*/ 157 h 458"/>
                  <a:gd name="T52" fmla="*/ 165 w 580"/>
                  <a:gd name="T53" fmla="*/ 53 h 458"/>
                  <a:gd name="T54" fmla="*/ 180 w 580"/>
                  <a:gd name="T55" fmla="*/ 53 h 458"/>
                  <a:gd name="T56" fmla="*/ 196 w 580"/>
                  <a:gd name="T57" fmla="*/ 27 h 458"/>
                  <a:gd name="T58" fmla="*/ 154 w 580"/>
                  <a:gd name="T59" fmla="*/ 4 h 458"/>
                  <a:gd name="T60" fmla="*/ 0 w 580"/>
                  <a:gd name="T61" fmla="*/ 152 h 458"/>
                  <a:gd name="T62" fmla="*/ 0 w 580"/>
                  <a:gd name="T63" fmla="*/ 439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80" h="458">
                    <a:moveTo>
                      <a:pt x="411" y="213"/>
                    </a:moveTo>
                    <a:cubicBezTo>
                      <a:pt x="570" y="37"/>
                      <a:pt x="570" y="37"/>
                      <a:pt x="570" y="37"/>
                    </a:cubicBezTo>
                    <a:cubicBezTo>
                      <a:pt x="576" y="30"/>
                      <a:pt x="580" y="25"/>
                      <a:pt x="580" y="20"/>
                    </a:cubicBezTo>
                    <a:cubicBezTo>
                      <a:pt x="580" y="10"/>
                      <a:pt x="559" y="0"/>
                      <a:pt x="545" y="0"/>
                    </a:cubicBezTo>
                    <a:cubicBezTo>
                      <a:pt x="535" y="0"/>
                      <a:pt x="526" y="8"/>
                      <a:pt x="519" y="16"/>
                    </a:cubicBezTo>
                    <a:cubicBezTo>
                      <a:pt x="344" y="210"/>
                      <a:pt x="344" y="210"/>
                      <a:pt x="344" y="210"/>
                    </a:cubicBezTo>
                    <a:cubicBezTo>
                      <a:pt x="336" y="219"/>
                      <a:pt x="334" y="224"/>
                      <a:pt x="334" y="229"/>
                    </a:cubicBezTo>
                    <a:cubicBezTo>
                      <a:pt x="334" y="234"/>
                      <a:pt x="336" y="239"/>
                      <a:pt x="344" y="248"/>
                    </a:cubicBezTo>
                    <a:cubicBezTo>
                      <a:pt x="519" y="442"/>
                      <a:pt x="519" y="442"/>
                      <a:pt x="519" y="442"/>
                    </a:cubicBezTo>
                    <a:cubicBezTo>
                      <a:pt x="526" y="450"/>
                      <a:pt x="535" y="458"/>
                      <a:pt x="545" y="458"/>
                    </a:cubicBezTo>
                    <a:cubicBezTo>
                      <a:pt x="559" y="458"/>
                      <a:pt x="580" y="448"/>
                      <a:pt x="580" y="438"/>
                    </a:cubicBezTo>
                    <a:cubicBezTo>
                      <a:pt x="580" y="433"/>
                      <a:pt x="576" y="428"/>
                      <a:pt x="570" y="421"/>
                    </a:cubicBezTo>
                    <a:cubicBezTo>
                      <a:pt x="411" y="245"/>
                      <a:pt x="411" y="245"/>
                      <a:pt x="411" y="245"/>
                    </a:cubicBezTo>
                    <a:cubicBezTo>
                      <a:pt x="403" y="236"/>
                      <a:pt x="399" y="232"/>
                      <a:pt x="399" y="229"/>
                    </a:cubicBezTo>
                    <a:cubicBezTo>
                      <a:pt x="399" y="226"/>
                      <a:pt x="403" y="222"/>
                      <a:pt x="411" y="213"/>
                    </a:cubicBezTo>
                    <a:moveTo>
                      <a:pt x="252" y="439"/>
                    </a:moveTo>
                    <a:cubicBezTo>
                      <a:pt x="252" y="449"/>
                      <a:pt x="261" y="454"/>
                      <a:pt x="281" y="454"/>
                    </a:cubicBezTo>
                    <a:cubicBezTo>
                      <a:pt x="300" y="454"/>
                      <a:pt x="309" y="449"/>
                      <a:pt x="309" y="439"/>
                    </a:cubicBezTo>
                    <a:cubicBezTo>
                      <a:pt x="309" y="19"/>
                      <a:pt x="309" y="19"/>
                      <a:pt x="309" y="19"/>
                    </a:cubicBezTo>
                    <a:cubicBezTo>
                      <a:pt x="309" y="9"/>
                      <a:pt x="300" y="4"/>
                      <a:pt x="281" y="4"/>
                    </a:cubicBezTo>
                    <a:cubicBezTo>
                      <a:pt x="261" y="4"/>
                      <a:pt x="252" y="9"/>
                      <a:pt x="252" y="19"/>
                    </a:cubicBezTo>
                    <a:lnTo>
                      <a:pt x="252" y="439"/>
                    </a:lnTo>
                    <a:close/>
                    <a:moveTo>
                      <a:pt x="0" y="439"/>
                    </a:moveTo>
                    <a:cubicBezTo>
                      <a:pt x="0" y="449"/>
                      <a:pt x="8" y="454"/>
                      <a:pt x="28" y="454"/>
                    </a:cubicBezTo>
                    <a:cubicBezTo>
                      <a:pt x="48" y="454"/>
                      <a:pt x="56" y="449"/>
                      <a:pt x="56" y="439"/>
                    </a:cubicBezTo>
                    <a:cubicBezTo>
                      <a:pt x="56" y="157"/>
                      <a:pt x="56" y="157"/>
                      <a:pt x="56" y="157"/>
                    </a:cubicBezTo>
                    <a:cubicBezTo>
                      <a:pt x="56" y="83"/>
                      <a:pt x="85" y="53"/>
                      <a:pt x="165" y="53"/>
                    </a:cubicBezTo>
                    <a:cubicBezTo>
                      <a:pt x="180" y="53"/>
                      <a:pt x="180" y="53"/>
                      <a:pt x="180" y="53"/>
                    </a:cubicBezTo>
                    <a:cubicBezTo>
                      <a:pt x="192" y="53"/>
                      <a:pt x="196" y="43"/>
                      <a:pt x="196" y="27"/>
                    </a:cubicBezTo>
                    <a:cubicBezTo>
                      <a:pt x="196" y="8"/>
                      <a:pt x="185" y="4"/>
                      <a:pt x="154" y="4"/>
                    </a:cubicBezTo>
                    <a:cubicBezTo>
                      <a:pt x="64" y="4"/>
                      <a:pt x="0" y="43"/>
                      <a:pt x="0" y="152"/>
                    </a:cubicBezTo>
                    <a:lnTo>
                      <a:pt x="0" y="4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2" name="Freeform 7">
                <a:extLst>
                  <a:ext uri="{FF2B5EF4-FFF2-40B4-BE49-F238E27FC236}">
                    <a16:creationId xmlns:a16="http://schemas.microsoft.com/office/drawing/2014/main" id="{2F32DCBD-8628-F245-85CD-97686A20EC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80" y="1704"/>
                <a:ext cx="618" cy="916"/>
              </a:xfrm>
              <a:custGeom>
                <a:avLst/>
                <a:gdLst>
                  <a:gd name="T0" fmla="*/ 307 w 307"/>
                  <a:gd name="T1" fmla="*/ 405 h 455"/>
                  <a:gd name="T2" fmla="*/ 307 w 307"/>
                  <a:gd name="T3" fmla="*/ 244 h 455"/>
                  <a:gd name="T4" fmla="*/ 279 w 307"/>
                  <a:gd name="T5" fmla="*/ 229 h 455"/>
                  <a:gd name="T6" fmla="*/ 250 w 307"/>
                  <a:gd name="T7" fmla="*/ 244 h 455"/>
                  <a:gd name="T8" fmla="*/ 250 w 307"/>
                  <a:gd name="T9" fmla="*/ 378 h 455"/>
                  <a:gd name="T10" fmla="*/ 199 w 307"/>
                  <a:gd name="T11" fmla="*/ 408 h 455"/>
                  <a:gd name="T12" fmla="*/ 61 w 307"/>
                  <a:gd name="T13" fmla="*/ 231 h 455"/>
                  <a:gd name="T14" fmla="*/ 238 w 307"/>
                  <a:gd name="T15" fmla="*/ 49 h 455"/>
                  <a:gd name="T16" fmla="*/ 270 w 307"/>
                  <a:gd name="T17" fmla="*/ 49 h 455"/>
                  <a:gd name="T18" fmla="*/ 286 w 307"/>
                  <a:gd name="T19" fmla="*/ 23 h 455"/>
                  <a:gd name="T20" fmla="*/ 244 w 307"/>
                  <a:gd name="T21" fmla="*/ 0 h 455"/>
                  <a:gd name="T22" fmla="*/ 231 w 307"/>
                  <a:gd name="T23" fmla="*/ 0 h 455"/>
                  <a:gd name="T24" fmla="*/ 0 w 307"/>
                  <a:gd name="T25" fmla="*/ 232 h 455"/>
                  <a:gd name="T26" fmla="*/ 198 w 307"/>
                  <a:gd name="T27" fmla="*/ 455 h 455"/>
                  <a:gd name="T28" fmla="*/ 307 w 307"/>
                  <a:gd name="T29" fmla="*/ 40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7" h="455">
                    <a:moveTo>
                      <a:pt x="307" y="405"/>
                    </a:moveTo>
                    <a:cubicBezTo>
                      <a:pt x="307" y="244"/>
                      <a:pt x="307" y="244"/>
                      <a:pt x="307" y="244"/>
                    </a:cubicBezTo>
                    <a:cubicBezTo>
                      <a:pt x="307" y="234"/>
                      <a:pt x="298" y="229"/>
                      <a:pt x="279" y="229"/>
                    </a:cubicBezTo>
                    <a:cubicBezTo>
                      <a:pt x="259" y="229"/>
                      <a:pt x="250" y="234"/>
                      <a:pt x="250" y="244"/>
                    </a:cubicBezTo>
                    <a:cubicBezTo>
                      <a:pt x="250" y="378"/>
                      <a:pt x="250" y="378"/>
                      <a:pt x="250" y="378"/>
                    </a:cubicBezTo>
                    <a:cubicBezTo>
                      <a:pt x="250" y="399"/>
                      <a:pt x="241" y="408"/>
                      <a:pt x="199" y="408"/>
                    </a:cubicBezTo>
                    <a:cubicBezTo>
                      <a:pt x="114" y="408"/>
                      <a:pt x="61" y="342"/>
                      <a:pt x="61" y="231"/>
                    </a:cubicBezTo>
                    <a:cubicBezTo>
                      <a:pt x="61" y="115"/>
                      <a:pt x="126" y="49"/>
                      <a:pt x="238" y="49"/>
                    </a:cubicBezTo>
                    <a:cubicBezTo>
                      <a:pt x="270" y="49"/>
                      <a:pt x="270" y="49"/>
                      <a:pt x="270" y="49"/>
                    </a:cubicBezTo>
                    <a:cubicBezTo>
                      <a:pt x="282" y="49"/>
                      <a:pt x="286" y="39"/>
                      <a:pt x="286" y="23"/>
                    </a:cubicBezTo>
                    <a:cubicBezTo>
                      <a:pt x="286" y="4"/>
                      <a:pt x="275" y="0"/>
                      <a:pt x="244" y="0"/>
                    </a:cubicBezTo>
                    <a:cubicBezTo>
                      <a:pt x="231" y="0"/>
                      <a:pt x="231" y="0"/>
                      <a:pt x="231" y="0"/>
                    </a:cubicBezTo>
                    <a:cubicBezTo>
                      <a:pt x="101" y="0"/>
                      <a:pt x="0" y="71"/>
                      <a:pt x="0" y="232"/>
                    </a:cubicBezTo>
                    <a:cubicBezTo>
                      <a:pt x="0" y="386"/>
                      <a:pt x="88" y="455"/>
                      <a:pt x="198" y="455"/>
                    </a:cubicBezTo>
                    <a:cubicBezTo>
                      <a:pt x="286" y="455"/>
                      <a:pt x="307" y="430"/>
                      <a:pt x="307" y="40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3" name="Oval 8">
                <a:extLst>
                  <a:ext uri="{FF2B5EF4-FFF2-40B4-BE49-F238E27FC236}">
                    <a16:creationId xmlns:a16="http://schemas.microsoft.com/office/drawing/2014/main" id="{60D97C11-1A3B-5449-A48D-98A3E79B381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778" y="2099"/>
                <a:ext cx="122" cy="12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4" name="Freeform 9">
                <a:extLst>
                  <a:ext uri="{FF2B5EF4-FFF2-40B4-BE49-F238E27FC236}">
                    <a16:creationId xmlns:a16="http://schemas.microsoft.com/office/drawing/2014/main" id="{5856770D-B8F0-244E-A05D-AED190086F1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623" y="1696"/>
                <a:ext cx="1167" cy="922"/>
              </a:xfrm>
              <a:custGeom>
                <a:avLst/>
                <a:gdLst>
                  <a:gd name="T0" fmla="*/ 411 w 580"/>
                  <a:gd name="T1" fmla="*/ 213 h 458"/>
                  <a:gd name="T2" fmla="*/ 570 w 580"/>
                  <a:gd name="T3" fmla="*/ 37 h 458"/>
                  <a:gd name="T4" fmla="*/ 580 w 580"/>
                  <a:gd name="T5" fmla="*/ 20 h 458"/>
                  <a:gd name="T6" fmla="*/ 545 w 580"/>
                  <a:gd name="T7" fmla="*/ 0 h 458"/>
                  <a:gd name="T8" fmla="*/ 519 w 580"/>
                  <a:gd name="T9" fmla="*/ 16 h 458"/>
                  <a:gd name="T10" fmla="*/ 344 w 580"/>
                  <a:gd name="T11" fmla="*/ 210 h 458"/>
                  <a:gd name="T12" fmla="*/ 334 w 580"/>
                  <a:gd name="T13" fmla="*/ 229 h 458"/>
                  <a:gd name="T14" fmla="*/ 344 w 580"/>
                  <a:gd name="T15" fmla="*/ 248 h 458"/>
                  <a:gd name="T16" fmla="*/ 519 w 580"/>
                  <a:gd name="T17" fmla="*/ 442 h 458"/>
                  <a:gd name="T18" fmla="*/ 545 w 580"/>
                  <a:gd name="T19" fmla="*/ 458 h 458"/>
                  <a:gd name="T20" fmla="*/ 580 w 580"/>
                  <a:gd name="T21" fmla="*/ 438 h 458"/>
                  <a:gd name="T22" fmla="*/ 570 w 580"/>
                  <a:gd name="T23" fmla="*/ 421 h 458"/>
                  <a:gd name="T24" fmla="*/ 411 w 580"/>
                  <a:gd name="T25" fmla="*/ 245 h 458"/>
                  <a:gd name="T26" fmla="*/ 399 w 580"/>
                  <a:gd name="T27" fmla="*/ 229 h 458"/>
                  <a:gd name="T28" fmla="*/ 411 w 580"/>
                  <a:gd name="T29" fmla="*/ 213 h 458"/>
                  <a:gd name="T30" fmla="*/ 252 w 580"/>
                  <a:gd name="T31" fmla="*/ 439 h 458"/>
                  <a:gd name="T32" fmla="*/ 281 w 580"/>
                  <a:gd name="T33" fmla="*/ 454 h 458"/>
                  <a:gd name="T34" fmla="*/ 309 w 580"/>
                  <a:gd name="T35" fmla="*/ 439 h 458"/>
                  <a:gd name="T36" fmla="*/ 309 w 580"/>
                  <a:gd name="T37" fmla="*/ 19 h 458"/>
                  <a:gd name="T38" fmla="*/ 281 w 580"/>
                  <a:gd name="T39" fmla="*/ 4 h 458"/>
                  <a:gd name="T40" fmla="*/ 252 w 580"/>
                  <a:gd name="T41" fmla="*/ 19 h 458"/>
                  <a:gd name="T42" fmla="*/ 252 w 580"/>
                  <a:gd name="T43" fmla="*/ 439 h 458"/>
                  <a:gd name="T44" fmla="*/ 0 w 580"/>
                  <a:gd name="T45" fmla="*/ 439 h 458"/>
                  <a:gd name="T46" fmla="*/ 28 w 580"/>
                  <a:gd name="T47" fmla="*/ 454 h 458"/>
                  <a:gd name="T48" fmla="*/ 56 w 580"/>
                  <a:gd name="T49" fmla="*/ 439 h 458"/>
                  <a:gd name="T50" fmla="*/ 56 w 580"/>
                  <a:gd name="T51" fmla="*/ 157 h 458"/>
                  <a:gd name="T52" fmla="*/ 165 w 580"/>
                  <a:gd name="T53" fmla="*/ 53 h 458"/>
                  <a:gd name="T54" fmla="*/ 180 w 580"/>
                  <a:gd name="T55" fmla="*/ 53 h 458"/>
                  <a:gd name="T56" fmla="*/ 196 w 580"/>
                  <a:gd name="T57" fmla="*/ 27 h 458"/>
                  <a:gd name="T58" fmla="*/ 154 w 580"/>
                  <a:gd name="T59" fmla="*/ 4 h 458"/>
                  <a:gd name="T60" fmla="*/ 0 w 580"/>
                  <a:gd name="T61" fmla="*/ 152 h 458"/>
                  <a:gd name="T62" fmla="*/ 0 w 580"/>
                  <a:gd name="T63" fmla="*/ 439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80" h="458">
                    <a:moveTo>
                      <a:pt x="411" y="213"/>
                    </a:moveTo>
                    <a:cubicBezTo>
                      <a:pt x="570" y="37"/>
                      <a:pt x="570" y="37"/>
                      <a:pt x="570" y="37"/>
                    </a:cubicBezTo>
                    <a:cubicBezTo>
                      <a:pt x="576" y="30"/>
                      <a:pt x="580" y="25"/>
                      <a:pt x="580" y="20"/>
                    </a:cubicBezTo>
                    <a:cubicBezTo>
                      <a:pt x="580" y="10"/>
                      <a:pt x="559" y="0"/>
                      <a:pt x="545" y="0"/>
                    </a:cubicBezTo>
                    <a:cubicBezTo>
                      <a:pt x="535" y="0"/>
                      <a:pt x="526" y="8"/>
                      <a:pt x="519" y="16"/>
                    </a:cubicBezTo>
                    <a:cubicBezTo>
                      <a:pt x="344" y="210"/>
                      <a:pt x="344" y="210"/>
                      <a:pt x="344" y="210"/>
                    </a:cubicBezTo>
                    <a:cubicBezTo>
                      <a:pt x="336" y="219"/>
                      <a:pt x="334" y="224"/>
                      <a:pt x="334" y="229"/>
                    </a:cubicBezTo>
                    <a:cubicBezTo>
                      <a:pt x="334" y="234"/>
                      <a:pt x="336" y="239"/>
                      <a:pt x="344" y="248"/>
                    </a:cubicBezTo>
                    <a:cubicBezTo>
                      <a:pt x="519" y="442"/>
                      <a:pt x="519" y="442"/>
                      <a:pt x="519" y="442"/>
                    </a:cubicBezTo>
                    <a:cubicBezTo>
                      <a:pt x="526" y="450"/>
                      <a:pt x="535" y="458"/>
                      <a:pt x="545" y="458"/>
                    </a:cubicBezTo>
                    <a:cubicBezTo>
                      <a:pt x="559" y="458"/>
                      <a:pt x="580" y="448"/>
                      <a:pt x="580" y="438"/>
                    </a:cubicBezTo>
                    <a:cubicBezTo>
                      <a:pt x="580" y="433"/>
                      <a:pt x="576" y="428"/>
                      <a:pt x="570" y="421"/>
                    </a:cubicBezTo>
                    <a:cubicBezTo>
                      <a:pt x="411" y="245"/>
                      <a:pt x="411" y="245"/>
                      <a:pt x="411" y="245"/>
                    </a:cubicBezTo>
                    <a:cubicBezTo>
                      <a:pt x="403" y="236"/>
                      <a:pt x="399" y="232"/>
                      <a:pt x="399" y="229"/>
                    </a:cubicBezTo>
                    <a:cubicBezTo>
                      <a:pt x="399" y="226"/>
                      <a:pt x="403" y="222"/>
                      <a:pt x="411" y="213"/>
                    </a:cubicBezTo>
                    <a:moveTo>
                      <a:pt x="252" y="439"/>
                    </a:moveTo>
                    <a:cubicBezTo>
                      <a:pt x="252" y="449"/>
                      <a:pt x="261" y="454"/>
                      <a:pt x="281" y="454"/>
                    </a:cubicBezTo>
                    <a:cubicBezTo>
                      <a:pt x="300" y="454"/>
                      <a:pt x="309" y="449"/>
                      <a:pt x="309" y="439"/>
                    </a:cubicBezTo>
                    <a:cubicBezTo>
                      <a:pt x="309" y="19"/>
                      <a:pt x="309" y="19"/>
                      <a:pt x="309" y="19"/>
                    </a:cubicBezTo>
                    <a:cubicBezTo>
                      <a:pt x="309" y="9"/>
                      <a:pt x="300" y="4"/>
                      <a:pt x="281" y="4"/>
                    </a:cubicBezTo>
                    <a:cubicBezTo>
                      <a:pt x="261" y="4"/>
                      <a:pt x="252" y="9"/>
                      <a:pt x="252" y="19"/>
                    </a:cubicBezTo>
                    <a:lnTo>
                      <a:pt x="252" y="439"/>
                    </a:lnTo>
                    <a:close/>
                    <a:moveTo>
                      <a:pt x="0" y="439"/>
                    </a:moveTo>
                    <a:cubicBezTo>
                      <a:pt x="0" y="449"/>
                      <a:pt x="8" y="454"/>
                      <a:pt x="28" y="454"/>
                    </a:cubicBezTo>
                    <a:cubicBezTo>
                      <a:pt x="48" y="454"/>
                      <a:pt x="56" y="449"/>
                      <a:pt x="56" y="439"/>
                    </a:cubicBezTo>
                    <a:cubicBezTo>
                      <a:pt x="56" y="157"/>
                      <a:pt x="56" y="157"/>
                      <a:pt x="56" y="157"/>
                    </a:cubicBezTo>
                    <a:cubicBezTo>
                      <a:pt x="56" y="83"/>
                      <a:pt x="85" y="53"/>
                      <a:pt x="165" y="53"/>
                    </a:cubicBezTo>
                    <a:cubicBezTo>
                      <a:pt x="180" y="53"/>
                      <a:pt x="180" y="53"/>
                      <a:pt x="180" y="53"/>
                    </a:cubicBezTo>
                    <a:cubicBezTo>
                      <a:pt x="192" y="53"/>
                      <a:pt x="196" y="43"/>
                      <a:pt x="196" y="27"/>
                    </a:cubicBezTo>
                    <a:cubicBezTo>
                      <a:pt x="196" y="8"/>
                      <a:pt x="185" y="4"/>
                      <a:pt x="154" y="4"/>
                    </a:cubicBezTo>
                    <a:cubicBezTo>
                      <a:pt x="64" y="4"/>
                      <a:pt x="0" y="43"/>
                      <a:pt x="0" y="152"/>
                    </a:cubicBezTo>
                    <a:lnTo>
                      <a:pt x="0" y="4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5" name="Freeform 10">
                <a:extLst>
                  <a:ext uri="{FF2B5EF4-FFF2-40B4-BE49-F238E27FC236}">
                    <a16:creationId xmlns:a16="http://schemas.microsoft.com/office/drawing/2014/main" id="{2B91B16B-BC11-E547-8FAC-B9B8D18EA4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80" y="1704"/>
                <a:ext cx="618" cy="916"/>
              </a:xfrm>
              <a:custGeom>
                <a:avLst/>
                <a:gdLst>
                  <a:gd name="T0" fmla="*/ 307 w 307"/>
                  <a:gd name="T1" fmla="*/ 405 h 455"/>
                  <a:gd name="T2" fmla="*/ 307 w 307"/>
                  <a:gd name="T3" fmla="*/ 244 h 455"/>
                  <a:gd name="T4" fmla="*/ 279 w 307"/>
                  <a:gd name="T5" fmla="*/ 229 h 455"/>
                  <a:gd name="T6" fmla="*/ 250 w 307"/>
                  <a:gd name="T7" fmla="*/ 244 h 455"/>
                  <a:gd name="T8" fmla="*/ 250 w 307"/>
                  <a:gd name="T9" fmla="*/ 378 h 455"/>
                  <a:gd name="T10" fmla="*/ 199 w 307"/>
                  <a:gd name="T11" fmla="*/ 408 h 455"/>
                  <a:gd name="T12" fmla="*/ 61 w 307"/>
                  <a:gd name="T13" fmla="*/ 231 h 455"/>
                  <a:gd name="T14" fmla="*/ 238 w 307"/>
                  <a:gd name="T15" fmla="*/ 49 h 455"/>
                  <a:gd name="T16" fmla="*/ 270 w 307"/>
                  <a:gd name="T17" fmla="*/ 49 h 455"/>
                  <a:gd name="T18" fmla="*/ 286 w 307"/>
                  <a:gd name="T19" fmla="*/ 23 h 455"/>
                  <a:gd name="T20" fmla="*/ 244 w 307"/>
                  <a:gd name="T21" fmla="*/ 0 h 455"/>
                  <a:gd name="T22" fmla="*/ 231 w 307"/>
                  <a:gd name="T23" fmla="*/ 0 h 455"/>
                  <a:gd name="T24" fmla="*/ 0 w 307"/>
                  <a:gd name="T25" fmla="*/ 232 h 455"/>
                  <a:gd name="T26" fmla="*/ 198 w 307"/>
                  <a:gd name="T27" fmla="*/ 455 h 455"/>
                  <a:gd name="T28" fmla="*/ 307 w 307"/>
                  <a:gd name="T29" fmla="*/ 40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7" h="455">
                    <a:moveTo>
                      <a:pt x="307" y="405"/>
                    </a:moveTo>
                    <a:cubicBezTo>
                      <a:pt x="307" y="244"/>
                      <a:pt x="307" y="244"/>
                      <a:pt x="307" y="244"/>
                    </a:cubicBezTo>
                    <a:cubicBezTo>
                      <a:pt x="307" y="234"/>
                      <a:pt x="298" y="229"/>
                      <a:pt x="279" y="229"/>
                    </a:cubicBezTo>
                    <a:cubicBezTo>
                      <a:pt x="259" y="229"/>
                      <a:pt x="250" y="234"/>
                      <a:pt x="250" y="244"/>
                    </a:cubicBezTo>
                    <a:cubicBezTo>
                      <a:pt x="250" y="378"/>
                      <a:pt x="250" y="378"/>
                      <a:pt x="250" y="378"/>
                    </a:cubicBezTo>
                    <a:cubicBezTo>
                      <a:pt x="250" y="399"/>
                      <a:pt x="241" y="408"/>
                      <a:pt x="199" y="408"/>
                    </a:cubicBezTo>
                    <a:cubicBezTo>
                      <a:pt x="114" y="408"/>
                      <a:pt x="61" y="342"/>
                      <a:pt x="61" y="231"/>
                    </a:cubicBezTo>
                    <a:cubicBezTo>
                      <a:pt x="61" y="115"/>
                      <a:pt x="126" y="49"/>
                      <a:pt x="238" y="49"/>
                    </a:cubicBezTo>
                    <a:cubicBezTo>
                      <a:pt x="270" y="49"/>
                      <a:pt x="270" y="49"/>
                      <a:pt x="270" y="49"/>
                    </a:cubicBezTo>
                    <a:cubicBezTo>
                      <a:pt x="282" y="49"/>
                      <a:pt x="286" y="39"/>
                      <a:pt x="286" y="23"/>
                    </a:cubicBezTo>
                    <a:cubicBezTo>
                      <a:pt x="286" y="4"/>
                      <a:pt x="275" y="0"/>
                      <a:pt x="244" y="0"/>
                    </a:cubicBezTo>
                    <a:cubicBezTo>
                      <a:pt x="231" y="0"/>
                      <a:pt x="231" y="0"/>
                      <a:pt x="231" y="0"/>
                    </a:cubicBezTo>
                    <a:cubicBezTo>
                      <a:pt x="101" y="0"/>
                      <a:pt x="0" y="71"/>
                      <a:pt x="0" y="232"/>
                    </a:cubicBezTo>
                    <a:cubicBezTo>
                      <a:pt x="0" y="386"/>
                      <a:pt x="88" y="455"/>
                      <a:pt x="198" y="455"/>
                    </a:cubicBezTo>
                    <a:cubicBezTo>
                      <a:pt x="286" y="455"/>
                      <a:pt x="307" y="430"/>
                      <a:pt x="307" y="40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6" name="Oval 11">
                <a:extLst>
                  <a:ext uri="{FF2B5EF4-FFF2-40B4-BE49-F238E27FC236}">
                    <a16:creationId xmlns:a16="http://schemas.microsoft.com/office/drawing/2014/main" id="{14F8C3C8-4888-7646-B9B4-64EB46A1DA2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778" y="2099"/>
                <a:ext cx="122" cy="12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7" name="Freeform 12">
                <a:extLst>
                  <a:ext uri="{FF2B5EF4-FFF2-40B4-BE49-F238E27FC236}">
                    <a16:creationId xmlns:a16="http://schemas.microsoft.com/office/drawing/2014/main" id="{D79D01D1-4E3E-F34B-97D7-2D387E6874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21" y="1029"/>
                <a:ext cx="648" cy="649"/>
              </a:xfrm>
              <a:custGeom>
                <a:avLst/>
                <a:gdLst>
                  <a:gd name="T0" fmla="*/ 0 w 648"/>
                  <a:gd name="T1" fmla="*/ 649 h 649"/>
                  <a:gd name="T2" fmla="*/ 2 w 648"/>
                  <a:gd name="T3" fmla="*/ 649 h 649"/>
                  <a:gd name="T4" fmla="*/ 648 w 648"/>
                  <a:gd name="T5" fmla="*/ 0 h 649"/>
                  <a:gd name="T6" fmla="*/ 423 w 648"/>
                  <a:gd name="T7" fmla="*/ 0 h 649"/>
                  <a:gd name="T8" fmla="*/ 0 w 648"/>
                  <a:gd name="T9" fmla="*/ 649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8" h="649">
                    <a:moveTo>
                      <a:pt x="0" y="649"/>
                    </a:moveTo>
                    <a:lnTo>
                      <a:pt x="2" y="649"/>
                    </a:lnTo>
                    <a:lnTo>
                      <a:pt x="648" y="0"/>
                    </a:lnTo>
                    <a:lnTo>
                      <a:pt x="423" y="0"/>
                    </a:lnTo>
                    <a:lnTo>
                      <a:pt x="0" y="64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8" name="Freeform 13">
                <a:extLst>
                  <a:ext uri="{FF2B5EF4-FFF2-40B4-BE49-F238E27FC236}">
                    <a16:creationId xmlns:a16="http://schemas.microsoft.com/office/drawing/2014/main" id="{46549898-6C52-B147-A8F6-A73FDBE616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21" y="1029"/>
                <a:ext cx="648" cy="649"/>
              </a:xfrm>
              <a:custGeom>
                <a:avLst/>
                <a:gdLst>
                  <a:gd name="T0" fmla="*/ 0 w 648"/>
                  <a:gd name="T1" fmla="*/ 649 h 649"/>
                  <a:gd name="T2" fmla="*/ 2 w 648"/>
                  <a:gd name="T3" fmla="*/ 649 h 649"/>
                  <a:gd name="T4" fmla="*/ 648 w 648"/>
                  <a:gd name="T5" fmla="*/ 0 h 649"/>
                  <a:gd name="T6" fmla="*/ 423 w 648"/>
                  <a:gd name="T7" fmla="*/ 0 h 649"/>
                  <a:gd name="T8" fmla="*/ 0 w 648"/>
                  <a:gd name="T9" fmla="*/ 649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8" h="649">
                    <a:moveTo>
                      <a:pt x="0" y="649"/>
                    </a:moveTo>
                    <a:lnTo>
                      <a:pt x="2" y="649"/>
                    </a:lnTo>
                    <a:lnTo>
                      <a:pt x="648" y="0"/>
                    </a:lnTo>
                    <a:lnTo>
                      <a:pt x="423" y="0"/>
                    </a:lnTo>
                    <a:lnTo>
                      <a:pt x="0" y="649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</p:grpSp>
      </p:grp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76217CC-534C-41BF-930C-27B1184E95F2}" type="datetime5">
              <a:rPr lang="en-US" smtClean="0"/>
              <a:t>18-Nov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E3B25F7-8D1F-44B5-B485-EE3C438CFD7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77671" y="2019727"/>
            <a:ext cx="3816000" cy="2236264"/>
          </a:xfrm>
        </p:spPr>
        <p:txBody>
          <a:bodyPr anchor="b"/>
          <a:lstStyle>
            <a:lvl1pPr algn="l">
              <a:defRPr sz="3600"/>
            </a:lvl1pPr>
          </a:lstStyle>
          <a:p>
            <a:r>
              <a:rPr lang="en-US" dirty="0"/>
              <a:t>Click to add thank you</a:t>
            </a:r>
          </a:p>
        </p:txBody>
      </p:sp>
    </p:spTree>
    <p:extLst>
      <p:ext uri="{BB962C8B-B14F-4D97-AF65-F5344CB8AC3E}">
        <p14:creationId xmlns:p14="http://schemas.microsoft.com/office/powerpoint/2010/main" val="28110164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white">
          <a:xfrm>
            <a:off x="0" y="0"/>
            <a:ext cx="514350" cy="1628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/>
          <a:p>
            <a:fld id="{2DD22AFC-145E-4433-8756-926F8A0E61FA}" type="datetime5">
              <a:rPr lang="en-US" smtClean="0"/>
              <a:t>18-Nov-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E29E4-0979-4FCA-B4C5-5FC6044C982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75063" y="6307665"/>
            <a:ext cx="8162717" cy="133200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3pPr>
            <a:lvl4pPr marL="0" algn="l">
              <a:lnSpc>
                <a:spcPct val="100000"/>
              </a:lnSpc>
              <a:spcBef>
                <a:spcPts val="0"/>
              </a:spcBef>
              <a:buNone/>
              <a:defRPr sz="8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dirty="0"/>
              <a:t>Source 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40011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/>
          <a:p>
            <a:fld id="{AF5B2FD7-A1C3-4F99-9996-6254468DC4CB}" type="datetime5">
              <a:rPr lang="en-US" smtClean="0"/>
              <a:t>18-Nov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E29E4-0979-4FCA-B4C5-5FC6044C982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197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96278" y="404813"/>
            <a:ext cx="1400175" cy="583247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76400" y="404813"/>
            <a:ext cx="5943525" cy="583247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/>
          <a:p>
            <a:fld id="{A1079567-0E61-4D85-B570-3273C3AD246A}" type="datetime5">
              <a:rPr lang="en-US" smtClean="0"/>
              <a:t>18-Nov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E29E4-0979-4FCA-B4C5-5FC6044C982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6829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text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405033"/>
            <a:ext cx="11328400" cy="192616"/>
          </a:xfrm>
        </p:spPr>
        <p:txBody>
          <a:bodyPr tIns="0" bIns="36000" anchor="b" anchorCtr="0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67">
                <a:solidFill>
                  <a:schemeClr val="tx1"/>
                </a:solidFill>
              </a:defRPr>
            </a:lvl1pPr>
            <a:lvl2pPr marL="0" indent="0">
              <a:spcBef>
                <a:spcPts val="400"/>
              </a:spcBef>
              <a:spcAft>
                <a:spcPts val="0"/>
              </a:spcAft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0"/>
              </a:spcAft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0"/>
              </a:spcAft>
              <a:buNone/>
              <a:defRPr sz="1200" b="0">
                <a:solidFill>
                  <a:schemeClr val="bg2"/>
                </a:solidFill>
              </a:defRPr>
            </a:lvl5pPr>
            <a:lvl6pPr marL="0" indent="0">
              <a:spcBef>
                <a:spcPts val="400"/>
              </a:spcBef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400"/>
              </a:spcBef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400"/>
              </a:spcBef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400"/>
              </a:spcBef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39708372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453189"/>
            <a:ext cx="11328400" cy="144463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67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0"/>
              </a:spcAft>
              <a:buNone/>
              <a:defRPr sz="12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84792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3" hasCustomPrompt="1"/>
          </p:nvPr>
        </p:nvSpPr>
        <p:spPr>
          <a:xfrm>
            <a:off x="3376226" y="0"/>
            <a:ext cx="8815774" cy="6858000"/>
          </a:xfrm>
          <a:custGeom>
            <a:avLst/>
            <a:gdLst>
              <a:gd name="connsiteX0" fmla="*/ 331042 w 8815774"/>
              <a:gd name="connsiteY0" fmla="*/ 0 h 6858000"/>
              <a:gd name="connsiteX1" fmla="*/ 8815774 w 8815774"/>
              <a:gd name="connsiteY1" fmla="*/ 0 h 6858000"/>
              <a:gd name="connsiteX2" fmla="*/ 8815774 w 8815774"/>
              <a:gd name="connsiteY2" fmla="*/ 6858000 h 6858000"/>
              <a:gd name="connsiteX3" fmla="*/ 0 w 8815774"/>
              <a:gd name="connsiteY3" fmla="*/ 6858000 h 6858000"/>
              <a:gd name="connsiteX4" fmla="*/ 1580491 w 8815774"/>
              <a:gd name="connsiteY4" fmla="*/ 416367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15774" h="6858000">
                <a:moveTo>
                  <a:pt x="331042" y="0"/>
                </a:moveTo>
                <a:lnTo>
                  <a:pt x="8815774" y="0"/>
                </a:lnTo>
                <a:lnTo>
                  <a:pt x="8815774" y="6858000"/>
                </a:lnTo>
                <a:lnTo>
                  <a:pt x="0" y="6858000"/>
                </a:lnTo>
                <a:lnTo>
                  <a:pt x="1580491" y="4163677"/>
                </a:lnTo>
                <a:close/>
              </a:path>
            </a:pathLst>
          </a:custGeom>
          <a:solidFill>
            <a:srgbClr val="D9DADB"/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</a:t>
            </a:r>
          </a:p>
        </p:txBody>
      </p:sp>
      <p:grpSp>
        <p:nvGrpSpPr>
          <p:cNvPr id="14" name="logo">
            <a:extLst>
              <a:ext uri="{FF2B5EF4-FFF2-40B4-BE49-F238E27FC236}">
                <a16:creationId xmlns:a16="http://schemas.microsoft.com/office/drawing/2014/main" id="{18C26D95-70F8-8A4D-9F18-DCCB92522AF8}"/>
              </a:ext>
            </a:extLst>
          </p:cNvPr>
          <p:cNvGrpSpPr/>
          <p:nvPr/>
        </p:nvGrpSpPr>
        <p:grpSpPr bwMode="gray">
          <a:xfrm>
            <a:off x="417363" y="407485"/>
            <a:ext cx="1518585" cy="646507"/>
            <a:chOff x="334963" y="296652"/>
            <a:chExt cx="1268411" cy="540000"/>
          </a:xfrm>
        </p:grpSpPr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8737AD0-E375-E445-97E6-CD2E2DF6062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82662" y="360462"/>
              <a:ext cx="620712" cy="431800"/>
            </a:xfrm>
            <a:custGeom>
              <a:avLst/>
              <a:gdLst>
                <a:gd name="T0" fmla="*/ 19 w 1809"/>
                <a:gd name="T1" fmla="*/ 97 h 1253"/>
                <a:gd name="T2" fmla="*/ 165 w 1809"/>
                <a:gd name="T3" fmla="*/ 41 h 1253"/>
                <a:gd name="T4" fmla="*/ 211 w 1809"/>
                <a:gd name="T5" fmla="*/ 224 h 1253"/>
                <a:gd name="T6" fmla="*/ 248 w 1809"/>
                <a:gd name="T7" fmla="*/ 155 h 1253"/>
                <a:gd name="T8" fmla="*/ 931 w 1809"/>
                <a:gd name="T9" fmla="*/ 995 h 1253"/>
                <a:gd name="T10" fmla="*/ 858 w 1809"/>
                <a:gd name="T11" fmla="*/ 1115 h 1253"/>
                <a:gd name="T12" fmla="*/ 749 w 1809"/>
                <a:gd name="T13" fmla="*/ 1117 h 1253"/>
                <a:gd name="T14" fmla="*/ 681 w 1809"/>
                <a:gd name="T15" fmla="*/ 1055 h 1253"/>
                <a:gd name="T16" fmla="*/ 800 w 1809"/>
                <a:gd name="T17" fmla="*/ 1054 h 1253"/>
                <a:gd name="T18" fmla="*/ 884 w 1809"/>
                <a:gd name="T19" fmla="*/ 1181 h 1253"/>
                <a:gd name="T20" fmla="*/ 118 w 1809"/>
                <a:gd name="T21" fmla="*/ 1086 h 1253"/>
                <a:gd name="T22" fmla="*/ 147 w 1809"/>
                <a:gd name="T23" fmla="*/ 1026 h 1253"/>
                <a:gd name="T24" fmla="*/ 102 w 1809"/>
                <a:gd name="T25" fmla="*/ 1026 h 1253"/>
                <a:gd name="T26" fmla="*/ 639 w 1809"/>
                <a:gd name="T27" fmla="*/ 84 h 1253"/>
                <a:gd name="T28" fmla="*/ 763 w 1809"/>
                <a:gd name="T29" fmla="*/ 145 h 1253"/>
                <a:gd name="T30" fmla="*/ 863 w 1809"/>
                <a:gd name="T31" fmla="*/ 221 h 1253"/>
                <a:gd name="T32" fmla="*/ 834 w 1809"/>
                <a:gd name="T33" fmla="*/ 208 h 1253"/>
                <a:gd name="T34" fmla="*/ 719 w 1809"/>
                <a:gd name="T35" fmla="*/ 182 h 1253"/>
                <a:gd name="T36" fmla="*/ 507 w 1809"/>
                <a:gd name="T37" fmla="*/ 711 h 1253"/>
                <a:gd name="T38" fmla="*/ 614 w 1809"/>
                <a:gd name="T39" fmla="*/ 706 h 1253"/>
                <a:gd name="T40" fmla="*/ 736 w 1809"/>
                <a:gd name="T41" fmla="*/ 730 h 1253"/>
                <a:gd name="T42" fmla="*/ 607 w 1809"/>
                <a:gd name="T43" fmla="*/ 539 h 1253"/>
                <a:gd name="T44" fmla="*/ 1505 w 1809"/>
                <a:gd name="T45" fmla="*/ 1136 h 1253"/>
                <a:gd name="T46" fmla="*/ 1613 w 1809"/>
                <a:gd name="T47" fmla="*/ 1002 h 1253"/>
                <a:gd name="T48" fmla="*/ 1472 w 1809"/>
                <a:gd name="T49" fmla="*/ 1164 h 1253"/>
                <a:gd name="T50" fmla="*/ 1525 w 1809"/>
                <a:gd name="T51" fmla="*/ 1142 h 1253"/>
                <a:gd name="T52" fmla="*/ 1556 w 1809"/>
                <a:gd name="T53" fmla="*/ 1172 h 1253"/>
                <a:gd name="T54" fmla="*/ 1387 w 1809"/>
                <a:gd name="T55" fmla="*/ 910 h 1253"/>
                <a:gd name="T56" fmla="*/ 1261 w 1809"/>
                <a:gd name="T57" fmla="*/ 1157 h 1253"/>
                <a:gd name="T58" fmla="*/ 1413 w 1809"/>
                <a:gd name="T59" fmla="*/ 934 h 1253"/>
                <a:gd name="T60" fmla="*/ 1378 w 1809"/>
                <a:gd name="T61" fmla="*/ 1052 h 1253"/>
                <a:gd name="T62" fmla="*/ 488 w 1809"/>
                <a:gd name="T63" fmla="*/ 85 h 1253"/>
                <a:gd name="T64" fmla="*/ 509 w 1809"/>
                <a:gd name="T65" fmla="*/ 112 h 1253"/>
                <a:gd name="T66" fmla="*/ 548 w 1809"/>
                <a:gd name="T67" fmla="*/ 1187 h 1253"/>
                <a:gd name="T68" fmla="*/ 472 w 1809"/>
                <a:gd name="T69" fmla="*/ 1122 h 1253"/>
                <a:gd name="T70" fmla="*/ 558 w 1809"/>
                <a:gd name="T71" fmla="*/ 1157 h 1253"/>
                <a:gd name="T72" fmla="*/ 287 w 1809"/>
                <a:gd name="T73" fmla="*/ 654 h 1253"/>
                <a:gd name="T74" fmla="*/ 416 w 1809"/>
                <a:gd name="T75" fmla="*/ 684 h 1253"/>
                <a:gd name="T76" fmla="*/ 1106 w 1809"/>
                <a:gd name="T77" fmla="*/ 147 h 1253"/>
                <a:gd name="T78" fmla="*/ 1229 w 1809"/>
                <a:gd name="T79" fmla="*/ 258 h 1253"/>
                <a:gd name="T80" fmla="*/ 1106 w 1809"/>
                <a:gd name="T81" fmla="*/ 96 h 1253"/>
                <a:gd name="T82" fmla="*/ 1219 w 1809"/>
                <a:gd name="T83" fmla="*/ 1077 h 1253"/>
                <a:gd name="T84" fmla="*/ 1214 w 1809"/>
                <a:gd name="T85" fmla="*/ 1157 h 1253"/>
                <a:gd name="T86" fmla="*/ 1150 w 1809"/>
                <a:gd name="T87" fmla="*/ 1092 h 1253"/>
                <a:gd name="T88" fmla="*/ 1139 w 1809"/>
                <a:gd name="T89" fmla="*/ 1070 h 1253"/>
                <a:gd name="T90" fmla="*/ 1659 w 1809"/>
                <a:gd name="T91" fmla="*/ 1031 h 1253"/>
                <a:gd name="T92" fmla="*/ 1714 w 1809"/>
                <a:gd name="T93" fmla="*/ 1155 h 1253"/>
                <a:gd name="T94" fmla="*/ 1760 w 1809"/>
                <a:gd name="T95" fmla="*/ 1030 h 1253"/>
                <a:gd name="T96" fmla="*/ 111 w 1809"/>
                <a:gd name="T97" fmla="*/ 569 h 1253"/>
                <a:gd name="T98" fmla="*/ 109 w 1809"/>
                <a:gd name="T99" fmla="*/ 460 h 1253"/>
                <a:gd name="T100" fmla="*/ 32 w 1809"/>
                <a:gd name="T101" fmla="*/ 704 h 1253"/>
                <a:gd name="T102" fmla="*/ 310 w 1809"/>
                <a:gd name="T103" fmla="*/ 1058 h 1253"/>
                <a:gd name="T104" fmla="*/ 431 w 1809"/>
                <a:gd name="T105" fmla="*/ 1044 h 1253"/>
                <a:gd name="T106" fmla="*/ 278 w 1809"/>
                <a:gd name="T107" fmla="*/ 1165 h 1253"/>
                <a:gd name="T108" fmla="*/ 261 w 1809"/>
                <a:gd name="T109" fmla="*/ 540 h 1253"/>
                <a:gd name="T110" fmla="*/ 150 w 1809"/>
                <a:gd name="T111" fmla="*/ 635 h 1253"/>
                <a:gd name="T112" fmla="*/ 994 w 1809"/>
                <a:gd name="T113" fmla="*/ 1185 h 1253"/>
                <a:gd name="T114" fmla="*/ 331 w 1809"/>
                <a:gd name="T115" fmla="*/ 176 h 1253"/>
                <a:gd name="T116" fmla="*/ 333 w 1809"/>
                <a:gd name="T117" fmla="*/ 109 h 1253"/>
                <a:gd name="T118" fmla="*/ 946 w 1809"/>
                <a:gd name="T119" fmla="*/ 234 h 1253"/>
                <a:gd name="T120" fmla="*/ 1022 w 1809"/>
                <a:gd name="T121" fmla="*/ 113 h 1253"/>
                <a:gd name="T122" fmla="*/ 949 w 1809"/>
                <a:gd name="T123" fmla="*/ 65 h 1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09" h="1253">
                  <a:moveTo>
                    <a:pt x="248" y="198"/>
                  </a:moveTo>
                  <a:cubicBezTo>
                    <a:pt x="248" y="211"/>
                    <a:pt x="248" y="224"/>
                    <a:pt x="249" y="237"/>
                  </a:cubicBezTo>
                  <a:cubicBezTo>
                    <a:pt x="249" y="245"/>
                    <a:pt x="246" y="249"/>
                    <a:pt x="240" y="253"/>
                  </a:cubicBezTo>
                  <a:cubicBezTo>
                    <a:pt x="231" y="260"/>
                    <a:pt x="220" y="264"/>
                    <a:pt x="209" y="268"/>
                  </a:cubicBezTo>
                  <a:cubicBezTo>
                    <a:pt x="179" y="279"/>
                    <a:pt x="148" y="280"/>
                    <a:pt x="118" y="275"/>
                  </a:cubicBezTo>
                  <a:cubicBezTo>
                    <a:pt x="86" y="269"/>
                    <a:pt x="58" y="252"/>
                    <a:pt x="39" y="224"/>
                  </a:cubicBezTo>
                  <a:cubicBezTo>
                    <a:pt x="24" y="203"/>
                    <a:pt x="18" y="180"/>
                    <a:pt x="15" y="155"/>
                  </a:cubicBezTo>
                  <a:cubicBezTo>
                    <a:pt x="11" y="135"/>
                    <a:pt x="15" y="115"/>
                    <a:pt x="19" y="97"/>
                  </a:cubicBezTo>
                  <a:cubicBezTo>
                    <a:pt x="26" y="68"/>
                    <a:pt x="42" y="44"/>
                    <a:pt x="68" y="27"/>
                  </a:cubicBezTo>
                  <a:cubicBezTo>
                    <a:pt x="87" y="14"/>
                    <a:pt x="109" y="6"/>
                    <a:pt x="133" y="5"/>
                  </a:cubicBezTo>
                  <a:cubicBezTo>
                    <a:pt x="149" y="4"/>
                    <a:pt x="165" y="5"/>
                    <a:pt x="181" y="6"/>
                  </a:cubicBezTo>
                  <a:cubicBezTo>
                    <a:pt x="204" y="8"/>
                    <a:pt x="225" y="20"/>
                    <a:pt x="243" y="35"/>
                  </a:cubicBezTo>
                  <a:cubicBezTo>
                    <a:pt x="246" y="37"/>
                    <a:pt x="246" y="40"/>
                    <a:pt x="244" y="43"/>
                  </a:cubicBezTo>
                  <a:cubicBezTo>
                    <a:pt x="242" y="47"/>
                    <a:pt x="239" y="52"/>
                    <a:pt x="236" y="55"/>
                  </a:cubicBezTo>
                  <a:cubicBezTo>
                    <a:pt x="226" y="65"/>
                    <a:pt x="224" y="65"/>
                    <a:pt x="206" y="54"/>
                  </a:cubicBezTo>
                  <a:cubicBezTo>
                    <a:pt x="193" y="46"/>
                    <a:pt x="180" y="40"/>
                    <a:pt x="165" y="41"/>
                  </a:cubicBezTo>
                  <a:cubicBezTo>
                    <a:pt x="151" y="41"/>
                    <a:pt x="137" y="39"/>
                    <a:pt x="124" y="42"/>
                  </a:cubicBezTo>
                  <a:cubicBezTo>
                    <a:pt x="104" y="46"/>
                    <a:pt x="87" y="57"/>
                    <a:pt x="75" y="74"/>
                  </a:cubicBezTo>
                  <a:cubicBezTo>
                    <a:pt x="56" y="99"/>
                    <a:pt x="51" y="129"/>
                    <a:pt x="55" y="159"/>
                  </a:cubicBezTo>
                  <a:cubicBezTo>
                    <a:pt x="60" y="189"/>
                    <a:pt x="73" y="214"/>
                    <a:pt x="98" y="230"/>
                  </a:cubicBezTo>
                  <a:cubicBezTo>
                    <a:pt x="109" y="237"/>
                    <a:pt x="121" y="242"/>
                    <a:pt x="135" y="241"/>
                  </a:cubicBezTo>
                  <a:cubicBezTo>
                    <a:pt x="146" y="241"/>
                    <a:pt x="158" y="241"/>
                    <a:pt x="169" y="241"/>
                  </a:cubicBezTo>
                  <a:cubicBezTo>
                    <a:pt x="182" y="242"/>
                    <a:pt x="193" y="235"/>
                    <a:pt x="205" y="232"/>
                  </a:cubicBezTo>
                  <a:cubicBezTo>
                    <a:pt x="210" y="231"/>
                    <a:pt x="211" y="227"/>
                    <a:pt x="211" y="224"/>
                  </a:cubicBezTo>
                  <a:cubicBezTo>
                    <a:pt x="211" y="210"/>
                    <a:pt x="211" y="196"/>
                    <a:pt x="211" y="183"/>
                  </a:cubicBezTo>
                  <a:cubicBezTo>
                    <a:pt x="211" y="177"/>
                    <a:pt x="207" y="175"/>
                    <a:pt x="202" y="175"/>
                  </a:cubicBezTo>
                  <a:cubicBezTo>
                    <a:pt x="193" y="175"/>
                    <a:pt x="184" y="175"/>
                    <a:pt x="175" y="175"/>
                  </a:cubicBezTo>
                  <a:cubicBezTo>
                    <a:pt x="171" y="175"/>
                    <a:pt x="168" y="174"/>
                    <a:pt x="166" y="171"/>
                  </a:cubicBezTo>
                  <a:cubicBezTo>
                    <a:pt x="163" y="163"/>
                    <a:pt x="164" y="154"/>
                    <a:pt x="166" y="146"/>
                  </a:cubicBezTo>
                  <a:cubicBezTo>
                    <a:pt x="167" y="142"/>
                    <a:pt x="171" y="142"/>
                    <a:pt x="175" y="142"/>
                  </a:cubicBezTo>
                  <a:cubicBezTo>
                    <a:pt x="196" y="142"/>
                    <a:pt x="217" y="142"/>
                    <a:pt x="238" y="142"/>
                  </a:cubicBezTo>
                  <a:cubicBezTo>
                    <a:pt x="247" y="142"/>
                    <a:pt x="248" y="148"/>
                    <a:pt x="248" y="155"/>
                  </a:cubicBezTo>
                  <a:cubicBezTo>
                    <a:pt x="249" y="169"/>
                    <a:pt x="248" y="183"/>
                    <a:pt x="248" y="198"/>
                  </a:cubicBezTo>
                  <a:close/>
                  <a:moveTo>
                    <a:pt x="884" y="1181"/>
                  </a:moveTo>
                  <a:cubicBezTo>
                    <a:pt x="889" y="1167"/>
                    <a:pt x="894" y="1152"/>
                    <a:pt x="898" y="1137"/>
                  </a:cubicBezTo>
                  <a:cubicBezTo>
                    <a:pt x="901" y="1127"/>
                    <a:pt x="905" y="1116"/>
                    <a:pt x="908" y="1106"/>
                  </a:cubicBezTo>
                  <a:cubicBezTo>
                    <a:pt x="911" y="1098"/>
                    <a:pt x="912" y="1089"/>
                    <a:pt x="916" y="1081"/>
                  </a:cubicBezTo>
                  <a:cubicBezTo>
                    <a:pt x="921" y="1072"/>
                    <a:pt x="923" y="1060"/>
                    <a:pt x="927" y="1050"/>
                  </a:cubicBezTo>
                  <a:cubicBezTo>
                    <a:pt x="932" y="1037"/>
                    <a:pt x="934" y="1023"/>
                    <a:pt x="940" y="1010"/>
                  </a:cubicBezTo>
                  <a:cubicBezTo>
                    <a:pt x="945" y="1001"/>
                    <a:pt x="941" y="995"/>
                    <a:pt x="931" y="995"/>
                  </a:cubicBezTo>
                  <a:cubicBezTo>
                    <a:pt x="927" y="995"/>
                    <a:pt x="922" y="995"/>
                    <a:pt x="918" y="995"/>
                  </a:cubicBezTo>
                  <a:cubicBezTo>
                    <a:pt x="913" y="995"/>
                    <a:pt x="908" y="997"/>
                    <a:pt x="907" y="1001"/>
                  </a:cubicBezTo>
                  <a:cubicBezTo>
                    <a:pt x="904" y="1008"/>
                    <a:pt x="900" y="1015"/>
                    <a:pt x="899" y="1023"/>
                  </a:cubicBezTo>
                  <a:cubicBezTo>
                    <a:pt x="897" y="1034"/>
                    <a:pt x="893" y="1045"/>
                    <a:pt x="889" y="1055"/>
                  </a:cubicBezTo>
                  <a:cubicBezTo>
                    <a:pt x="887" y="1064"/>
                    <a:pt x="885" y="1072"/>
                    <a:pt x="882" y="1080"/>
                  </a:cubicBezTo>
                  <a:cubicBezTo>
                    <a:pt x="878" y="1091"/>
                    <a:pt x="874" y="1103"/>
                    <a:pt x="871" y="1115"/>
                  </a:cubicBezTo>
                  <a:cubicBezTo>
                    <a:pt x="870" y="1118"/>
                    <a:pt x="871" y="1124"/>
                    <a:pt x="866" y="1124"/>
                  </a:cubicBezTo>
                  <a:cubicBezTo>
                    <a:pt x="861" y="1125"/>
                    <a:pt x="859" y="1120"/>
                    <a:pt x="858" y="1115"/>
                  </a:cubicBezTo>
                  <a:cubicBezTo>
                    <a:pt x="856" y="1110"/>
                    <a:pt x="856" y="1104"/>
                    <a:pt x="854" y="1099"/>
                  </a:cubicBezTo>
                  <a:cubicBezTo>
                    <a:pt x="848" y="1080"/>
                    <a:pt x="841" y="1062"/>
                    <a:pt x="835" y="1044"/>
                  </a:cubicBezTo>
                  <a:cubicBezTo>
                    <a:pt x="831" y="1030"/>
                    <a:pt x="828" y="1016"/>
                    <a:pt x="822" y="1003"/>
                  </a:cubicBezTo>
                  <a:cubicBezTo>
                    <a:pt x="819" y="997"/>
                    <a:pt x="814" y="994"/>
                    <a:pt x="808" y="994"/>
                  </a:cubicBezTo>
                  <a:cubicBezTo>
                    <a:pt x="799" y="993"/>
                    <a:pt x="791" y="993"/>
                    <a:pt x="787" y="1001"/>
                  </a:cubicBezTo>
                  <a:cubicBezTo>
                    <a:pt x="783" y="1008"/>
                    <a:pt x="780" y="1015"/>
                    <a:pt x="779" y="1022"/>
                  </a:cubicBezTo>
                  <a:cubicBezTo>
                    <a:pt x="778" y="1034"/>
                    <a:pt x="772" y="1044"/>
                    <a:pt x="769" y="1055"/>
                  </a:cubicBezTo>
                  <a:cubicBezTo>
                    <a:pt x="762" y="1076"/>
                    <a:pt x="754" y="1096"/>
                    <a:pt x="749" y="1117"/>
                  </a:cubicBezTo>
                  <a:cubicBezTo>
                    <a:pt x="748" y="1120"/>
                    <a:pt x="747" y="1124"/>
                    <a:pt x="742" y="1124"/>
                  </a:cubicBezTo>
                  <a:cubicBezTo>
                    <a:pt x="737" y="1124"/>
                    <a:pt x="737" y="1120"/>
                    <a:pt x="736" y="1116"/>
                  </a:cubicBezTo>
                  <a:cubicBezTo>
                    <a:pt x="734" y="1104"/>
                    <a:pt x="730" y="1092"/>
                    <a:pt x="726" y="1080"/>
                  </a:cubicBezTo>
                  <a:cubicBezTo>
                    <a:pt x="720" y="1061"/>
                    <a:pt x="714" y="1040"/>
                    <a:pt x="708" y="1020"/>
                  </a:cubicBezTo>
                  <a:cubicBezTo>
                    <a:pt x="703" y="1000"/>
                    <a:pt x="698" y="994"/>
                    <a:pt x="676" y="995"/>
                  </a:cubicBezTo>
                  <a:cubicBezTo>
                    <a:pt x="665" y="996"/>
                    <a:pt x="661" y="1001"/>
                    <a:pt x="667" y="1011"/>
                  </a:cubicBezTo>
                  <a:cubicBezTo>
                    <a:pt x="669" y="1016"/>
                    <a:pt x="670" y="1021"/>
                    <a:pt x="672" y="1025"/>
                  </a:cubicBezTo>
                  <a:cubicBezTo>
                    <a:pt x="675" y="1035"/>
                    <a:pt x="678" y="1046"/>
                    <a:pt x="681" y="1055"/>
                  </a:cubicBezTo>
                  <a:cubicBezTo>
                    <a:pt x="685" y="1068"/>
                    <a:pt x="689" y="1080"/>
                    <a:pt x="693" y="1092"/>
                  </a:cubicBezTo>
                  <a:cubicBezTo>
                    <a:pt x="697" y="1103"/>
                    <a:pt x="699" y="1113"/>
                    <a:pt x="703" y="1124"/>
                  </a:cubicBezTo>
                  <a:cubicBezTo>
                    <a:pt x="707" y="1136"/>
                    <a:pt x="711" y="1147"/>
                    <a:pt x="715" y="1160"/>
                  </a:cubicBezTo>
                  <a:cubicBezTo>
                    <a:pt x="717" y="1168"/>
                    <a:pt x="720" y="1176"/>
                    <a:pt x="724" y="1183"/>
                  </a:cubicBezTo>
                  <a:cubicBezTo>
                    <a:pt x="728" y="1189"/>
                    <a:pt x="752" y="1185"/>
                    <a:pt x="757" y="1180"/>
                  </a:cubicBezTo>
                  <a:cubicBezTo>
                    <a:pt x="764" y="1173"/>
                    <a:pt x="762" y="1163"/>
                    <a:pt x="766" y="1156"/>
                  </a:cubicBezTo>
                  <a:cubicBezTo>
                    <a:pt x="774" y="1140"/>
                    <a:pt x="778" y="1122"/>
                    <a:pt x="784" y="1105"/>
                  </a:cubicBezTo>
                  <a:cubicBezTo>
                    <a:pt x="789" y="1088"/>
                    <a:pt x="796" y="1072"/>
                    <a:pt x="800" y="1054"/>
                  </a:cubicBezTo>
                  <a:cubicBezTo>
                    <a:pt x="800" y="1053"/>
                    <a:pt x="801" y="1050"/>
                    <a:pt x="803" y="1050"/>
                  </a:cubicBezTo>
                  <a:cubicBezTo>
                    <a:pt x="806" y="1050"/>
                    <a:pt x="806" y="1052"/>
                    <a:pt x="807" y="1055"/>
                  </a:cubicBezTo>
                  <a:cubicBezTo>
                    <a:pt x="807" y="1060"/>
                    <a:pt x="810" y="1066"/>
                    <a:pt x="811" y="1071"/>
                  </a:cubicBezTo>
                  <a:cubicBezTo>
                    <a:pt x="814" y="1081"/>
                    <a:pt x="818" y="1090"/>
                    <a:pt x="821" y="1099"/>
                  </a:cubicBezTo>
                  <a:cubicBezTo>
                    <a:pt x="824" y="1110"/>
                    <a:pt x="827" y="1120"/>
                    <a:pt x="831" y="1131"/>
                  </a:cubicBezTo>
                  <a:cubicBezTo>
                    <a:pt x="834" y="1142"/>
                    <a:pt x="839" y="1153"/>
                    <a:pt x="842" y="1164"/>
                  </a:cubicBezTo>
                  <a:cubicBezTo>
                    <a:pt x="846" y="1179"/>
                    <a:pt x="850" y="1188"/>
                    <a:pt x="869" y="1185"/>
                  </a:cubicBezTo>
                  <a:cubicBezTo>
                    <a:pt x="873" y="1184"/>
                    <a:pt x="881" y="1189"/>
                    <a:pt x="884" y="1181"/>
                  </a:cubicBezTo>
                  <a:close/>
                  <a:moveTo>
                    <a:pt x="33" y="1051"/>
                  </a:moveTo>
                  <a:cubicBezTo>
                    <a:pt x="33" y="1087"/>
                    <a:pt x="33" y="1124"/>
                    <a:pt x="33" y="1160"/>
                  </a:cubicBezTo>
                  <a:cubicBezTo>
                    <a:pt x="33" y="1188"/>
                    <a:pt x="29" y="1184"/>
                    <a:pt x="58" y="1185"/>
                  </a:cubicBezTo>
                  <a:cubicBezTo>
                    <a:pt x="72" y="1185"/>
                    <a:pt x="73" y="1184"/>
                    <a:pt x="73" y="1170"/>
                  </a:cubicBezTo>
                  <a:cubicBezTo>
                    <a:pt x="73" y="1138"/>
                    <a:pt x="73" y="1107"/>
                    <a:pt x="73" y="1076"/>
                  </a:cubicBezTo>
                  <a:cubicBezTo>
                    <a:pt x="73" y="1071"/>
                    <a:pt x="72" y="1067"/>
                    <a:pt x="78" y="1065"/>
                  </a:cubicBezTo>
                  <a:cubicBezTo>
                    <a:pt x="91" y="1062"/>
                    <a:pt x="102" y="1067"/>
                    <a:pt x="110" y="1076"/>
                  </a:cubicBezTo>
                  <a:cubicBezTo>
                    <a:pt x="112" y="1080"/>
                    <a:pt x="115" y="1083"/>
                    <a:pt x="118" y="1086"/>
                  </a:cubicBezTo>
                  <a:cubicBezTo>
                    <a:pt x="132" y="1103"/>
                    <a:pt x="146" y="1119"/>
                    <a:pt x="161" y="1136"/>
                  </a:cubicBezTo>
                  <a:cubicBezTo>
                    <a:pt x="173" y="1150"/>
                    <a:pt x="186" y="1165"/>
                    <a:pt x="198" y="1179"/>
                  </a:cubicBezTo>
                  <a:cubicBezTo>
                    <a:pt x="207" y="1188"/>
                    <a:pt x="218" y="1184"/>
                    <a:pt x="228" y="1185"/>
                  </a:cubicBezTo>
                  <a:cubicBezTo>
                    <a:pt x="233" y="1185"/>
                    <a:pt x="241" y="1188"/>
                    <a:pt x="244" y="1182"/>
                  </a:cubicBezTo>
                  <a:cubicBezTo>
                    <a:pt x="246" y="1178"/>
                    <a:pt x="239" y="1173"/>
                    <a:pt x="235" y="1169"/>
                  </a:cubicBezTo>
                  <a:cubicBezTo>
                    <a:pt x="206" y="1133"/>
                    <a:pt x="176" y="1098"/>
                    <a:pt x="146" y="1062"/>
                  </a:cubicBezTo>
                  <a:cubicBezTo>
                    <a:pt x="141" y="1056"/>
                    <a:pt x="131" y="1052"/>
                    <a:pt x="132" y="1044"/>
                  </a:cubicBezTo>
                  <a:cubicBezTo>
                    <a:pt x="132" y="1036"/>
                    <a:pt x="142" y="1032"/>
                    <a:pt x="147" y="1026"/>
                  </a:cubicBezTo>
                  <a:cubicBezTo>
                    <a:pt x="164" y="1006"/>
                    <a:pt x="182" y="988"/>
                    <a:pt x="198" y="968"/>
                  </a:cubicBezTo>
                  <a:cubicBezTo>
                    <a:pt x="209" y="954"/>
                    <a:pt x="221" y="942"/>
                    <a:pt x="234" y="929"/>
                  </a:cubicBezTo>
                  <a:cubicBezTo>
                    <a:pt x="236" y="926"/>
                    <a:pt x="238" y="923"/>
                    <a:pt x="237" y="920"/>
                  </a:cubicBezTo>
                  <a:cubicBezTo>
                    <a:pt x="235" y="915"/>
                    <a:pt x="231" y="917"/>
                    <a:pt x="228" y="917"/>
                  </a:cubicBezTo>
                  <a:cubicBezTo>
                    <a:pt x="224" y="918"/>
                    <a:pt x="221" y="918"/>
                    <a:pt x="217" y="918"/>
                  </a:cubicBezTo>
                  <a:cubicBezTo>
                    <a:pt x="204" y="917"/>
                    <a:pt x="193" y="922"/>
                    <a:pt x="185" y="931"/>
                  </a:cubicBezTo>
                  <a:cubicBezTo>
                    <a:pt x="172" y="946"/>
                    <a:pt x="158" y="961"/>
                    <a:pt x="145" y="977"/>
                  </a:cubicBezTo>
                  <a:cubicBezTo>
                    <a:pt x="131" y="993"/>
                    <a:pt x="117" y="1010"/>
                    <a:pt x="102" y="1026"/>
                  </a:cubicBezTo>
                  <a:cubicBezTo>
                    <a:pt x="96" y="1032"/>
                    <a:pt x="87" y="1037"/>
                    <a:pt x="78" y="1034"/>
                  </a:cubicBezTo>
                  <a:cubicBezTo>
                    <a:pt x="70" y="1030"/>
                    <a:pt x="73" y="1021"/>
                    <a:pt x="73" y="1015"/>
                  </a:cubicBezTo>
                  <a:cubicBezTo>
                    <a:pt x="73" y="991"/>
                    <a:pt x="73" y="967"/>
                    <a:pt x="73" y="944"/>
                  </a:cubicBezTo>
                  <a:cubicBezTo>
                    <a:pt x="73" y="916"/>
                    <a:pt x="75" y="917"/>
                    <a:pt x="46" y="918"/>
                  </a:cubicBezTo>
                  <a:cubicBezTo>
                    <a:pt x="33" y="918"/>
                    <a:pt x="33" y="918"/>
                    <a:pt x="33" y="931"/>
                  </a:cubicBezTo>
                  <a:cubicBezTo>
                    <a:pt x="33" y="971"/>
                    <a:pt x="33" y="1011"/>
                    <a:pt x="33" y="1051"/>
                  </a:cubicBezTo>
                  <a:cubicBezTo>
                    <a:pt x="33" y="1051"/>
                    <a:pt x="33" y="1051"/>
                    <a:pt x="33" y="1051"/>
                  </a:cubicBezTo>
                  <a:close/>
                  <a:moveTo>
                    <a:pt x="639" y="84"/>
                  </a:moveTo>
                  <a:cubicBezTo>
                    <a:pt x="627" y="84"/>
                    <a:pt x="626" y="84"/>
                    <a:pt x="629" y="95"/>
                  </a:cubicBezTo>
                  <a:cubicBezTo>
                    <a:pt x="634" y="113"/>
                    <a:pt x="640" y="131"/>
                    <a:pt x="646" y="148"/>
                  </a:cubicBezTo>
                  <a:cubicBezTo>
                    <a:pt x="652" y="166"/>
                    <a:pt x="658" y="185"/>
                    <a:pt x="664" y="203"/>
                  </a:cubicBezTo>
                  <a:cubicBezTo>
                    <a:pt x="671" y="223"/>
                    <a:pt x="676" y="244"/>
                    <a:pt x="684" y="264"/>
                  </a:cubicBezTo>
                  <a:cubicBezTo>
                    <a:pt x="688" y="274"/>
                    <a:pt x="694" y="274"/>
                    <a:pt x="702" y="274"/>
                  </a:cubicBezTo>
                  <a:cubicBezTo>
                    <a:pt x="711" y="274"/>
                    <a:pt x="719" y="272"/>
                    <a:pt x="723" y="263"/>
                  </a:cubicBezTo>
                  <a:cubicBezTo>
                    <a:pt x="733" y="236"/>
                    <a:pt x="741" y="208"/>
                    <a:pt x="750" y="181"/>
                  </a:cubicBezTo>
                  <a:cubicBezTo>
                    <a:pt x="754" y="169"/>
                    <a:pt x="757" y="156"/>
                    <a:pt x="763" y="145"/>
                  </a:cubicBezTo>
                  <a:cubicBezTo>
                    <a:pt x="764" y="143"/>
                    <a:pt x="764" y="140"/>
                    <a:pt x="767" y="140"/>
                  </a:cubicBezTo>
                  <a:cubicBezTo>
                    <a:pt x="770" y="140"/>
                    <a:pt x="770" y="143"/>
                    <a:pt x="771" y="145"/>
                  </a:cubicBezTo>
                  <a:cubicBezTo>
                    <a:pt x="771" y="156"/>
                    <a:pt x="777" y="165"/>
                    <a:pt x="780" y="175"/>
                  </a:cubicBezTo>
                  <a:cubicBezTo>
                    <a:pt x="782" y="184"/>
                    <a:pt x="785" y="193"/>
                    <a:pt x="788" y="201"/>
                  </a:cubicBezTo>
                  <a:cubicBezTo>
                    <a:pt x="794" y="219"/>
                    <a:pt x="801" y="237"/>
                    <a:pt x="806" y="255"/>
                  </a:cubicBezTo>
                  <a:cubicBezTo>
                    <a:pt x="811" y="272"/>
                    <a:pt x="825" y="280"/>
                    <a:pt x="842" y="273"/>
                  </a:cubicBezTo>
                  <a:cubicBezTo>
                    <a:pt x="845" y="271"/>
                    <a:pt x="847" y="269"/>
                    <a:pt x="848" y="266"/>
                  </a:cubicBezTo>
                  <a:cubicBezTo>
                    <a:pt x="853" y="251"/>
                    <a:pt x="859" y="236"/>
                    <a:pt x="863" y="221"/>
                  </a:cubicBezTo>
                  <a:cubicBezTo>
                    <a:pt x="867" y="202"/>
                    <a:pt x="875" y="185"/>
                    <a:pt x="880" y="166"/>
                  </a:cubicBezTo>
                  <a:cubicBezTo>
                    <a:pt x="886" y="144"/>
                    <a:pt x="895" y="123"/>
                    <a:pt x="900" y="101"/>
                  </a:cubicBezTo>
                  <a:cubicBezTo>
                    <a:pt x="901" y="96"/>
                    <a:pt x="909" y="91"/>
                    <a:pt x="904" y="86"/>
                  </a:cubicBezTo>
                  <a:cubicBezTo>
                    <a:pt x="900" y="81"/>
                    <a:pt x="892" y="84"/>
                    <a:pt x="886" y="84"/>
                  </a:cubicBezTo>
                  <a:cubicBezTo>
                    <a:pt x="885" y="84"/>
                    <a:pt x="883" y="84"/>
                    <a:pt x="881" y="84"/>
                  </a:cubicBezTo>
                  <a:cubicBezTo>
                    <a:pt x="875" y="84"/>
                    <a:pt x="872" y="86"/>
                    <a:pt x="869" y="91"/>
                  </a:cubicBezTo>
                  <a:cubicBezTo>
                    <a:pt x="860" y="110"/>
                    <a:pt x="856" y="131"/>
                    <a:pt x="850" y="151"/>
                  </a:cubicBezTo>
                  <a:cubicBezTo>
                    <a:pt x="844" y="170"/>
                    <a:pt x="836" y="188"/>
                    <a:pt x="834" y="208"/>
                  </a:cubicBezTo>
                  <a:cubicBezTo>
                    <a:pt x="833" y="211"/>
                    <a:pt x="831" y="214"/>
                    <a:pt x="827" y="214"/>
                  </a:cubicBezTo>
                  <a:cubicBezTo>
                    <a:pt x="823" y="214"/>
                    <a:pt x="822" y="210"/>
                    <a:pt x="822" y="207"/>
                  </a:cubicBezTo>
                  <a:cubicBezTo>
                    <a:pt x="817" y="188"/>
                    <a:pt x="811" y="170"/>
                    <a:pt x="805" y="152"/>
                  </a:cubicBezTo>
                  <a:cubicBezTo>
                    <a:pt x="799" y="133"/>
                    <a:pt x="794" y="114"/>
                    <a:pt x="786" y="96"/>
                  </a:cubicBezTo>
                  <a:cubicBezTo>
                    <a:pt x="783" y="87"/>
                    <a:pt x="779" y="84"/>
                    <a:pt x="770" y="84"/>
                  </a:cubicBezTo>
                  <a:cubicBezTo>
                    <a:pt x="761" y="84"/>
                    <a:pt x="752" y="82"/>
                    <a:pt x="748" y="94"/>
                  </a:cubicBezTo>
                  <a:cubicBezTo>
                    <a:pt x="744" y="109"/>
                    <a:pt x="738" y="123"/>
                    <a:pt x="734" y="138"/>
                  </a:cubicBezTo>
                  <a:cubicBezTo>
                    <a:pt x="729" y="153"/>
                    <a:pt x="724" y="167"/>
                    <a:pt x="719" y="182"/>
                  </a:cubicBezTo>
                  <a:cubicBezTo>
                    <a:pt x="716" y="192"/>
                    <a:pt x="715" y="203"/>
                    <a:pt x="708" y="212"/>
                  </a:cubicBezTo>
                  <a:cubicBezTo>
                    <a:pt x="707" y="214"/>
                    <a:pt x="707" y="217"/>
                    <a:pt x="704" y="217"/>
                  </a:cubicBezTo>
                  <a:cubicBezTo>
                    <a:pt x="701" y="217"/>
                    <a:pt x="701" y="213"/>
                    <a:pt x="700" y="211"/>
                  </a:cubicBezTo>
                  <a:cubicBezTo>
                    <a:pt x="699" y="198"/>
                    <a:pt x="694" y="186"/>
                    <a:pt x="690" y="174"/>
                  </a:cubicBezTo>
                  <a:cubicBezTo>
                    <a:pt x="684" y="153"/>
                    <a:pt x="677" y="131"/>
                    <a:pt x="672" y="110"/>
                  </a:cubicBezTo>
                  <a:cubicBezTo>
                    <a:pt x="667" y="88"/>
                    <a:pt x="663" y="84"/>
                    <a:pt x="645" y="84"/>
                  </a:cubicBezTo>
                  <a:cubicBezTo>
                    <a:pt x="643" y="84"/>
                    <a:pt x="641" y="84"/>
                    <a:pt x="639" y="84"/>
                  </a:cubicBezTo>
                  <a:close/>
                  <a:moveTo>
                    <a:pt x="507" y="711"/>
                  </a:moveTo>
                  <a:cubicBezTo>
                    <a:pt x="507" y="730"/>
                    <a:pt x="507" y="730"/>
                    <a:pt x="526" y="730"/>
                  </a:cubicBezTo>
                  <a:cubicBezTo>
                    <a:pt x="539" y="730"/>
                    <a:pt x="541" y="729"/>
                    <a:pt x="541" y="715"/>
                  </a:cubicBezTo>
                  <a:cubicBezTo>
                    <a:pt x="541" y="677"/>
                    <a:pt x="541" y="638"/>
                    <a:pt x="540" y="600"/>
                  </a:cubicBezTo>
                  <a:cubicBezTo>
                    <a:pt x="540" y="593"/>
                    <a:pt x="543" y="587"/>
                    <a:pt x="548" y="582"/>
                  </a:cubicBezTo>
                  <a:cubicBezTo>
                    <a:pt x="553" y="576"/>
                    <a:pt x="559" y="573"/>
                    <a:pt x="564" y="569"/>
                  </a:cubicBezTo>
                  <a:cubicBezTo>
                    <a:pt x="574" y="564"/>
                    <a:pt x="594" y="566"/>
                    <a:pt x="602" y="574"/>
                  </a:cubicBezTo>
                  <a:cubicBezTo>
                    <a:pt x="611" y="582"/>
                    <a:pt x="614" y="592"/>
                    <a:pt x="614" y="604"/>
                  </a:cubicBezTo>
                  <a:cubicBezTo>
                    <a:pt x="614" y="638"/>
                    <a:pt x="614" y="672"/>
                    <a:pt x="614" y="706"/>
                  </a:cubicBezTo>
                  <a:cubicBezTo>
                    <a:pt x="614" y="730"/>
                    <a:pt x="614" y="730"/>
                    <a:pt x="638" y="730"/>
                  </a:cubicBezTo>
                  <a:cubicBezTo>
                    <a:pt x="650" y="730"/>
                    <a:pt x="650" y="730"/>
                    <a:pt x="650" y="717"/>
                  </a:cubicBezTo>
                  <a:cubicBezTo>
                    <a:pt x="650" y="684"/>
                    <a:pt x="650" y="650"/>
                    <a:pt x="650" y="617"/>
                  </a:cubicBezTo>
                  <a:cubicBezTo>
                    <a:pt x="650" y="606"/>
                    <a:pt x="651" y="597"/>
                    <a:pt x="657" y="586"/>
                  </a:cubicBezTo>
                  <a:cubicBezTo>
                    <a:pt x="667" y="565"/>
                    <a:pt x="703" y="560"/>
                    <a:pt x="716" y="579"/>
                  </a:cubicBezTo>
                  <a:cubicBezTo>
                    <a:pt x="723" y="588"/>
                    <a:pt x="724" y="598"/>
                    <a:pt x="724" y="609"/>
                  </a:cubicBezTo>
                  <a:cubicBezTo>
                    <a:pt x="724" y="645"/>
                    <a:pt x="724" y="682"/>
                    <a:pt x="724" y="718"/>
                  </a:cubicBezTo>
                  <a:cubicBezTo>
                    <a:pt x="724" y="727"/>
                    <a:pt x="727" y="731"/>
                    <a:pt x="736" y="730"/>
                  </a:cubicBezTo>
                  <a:cubicBezTo>
                    <a:pt x="738" y="730"/>
                    <a:pt x="741" y="730"/>
                    <a:pt x="743" y="730"/>
                  </a:cubicBezTo>
                  <a:cubicBezTo>
                    <a:pt x="758" y="730"/>
                    <a:pt x="759" y="729"/>
                    <a:pt x="759" y="715"/>
                  </a:cubicBezTo>
                  <a:cubicBezTo>
                    <a:pt x="759" y="677"/>
                    <a:pt x="758" y="639"/>
                    <a:pt x="759" y="601"/>
                  </a:cubicBezTo>
                  <a:cubicBezTo>
                    <a:pt x="759" y="571"/>
                    <a:pt x="742" y="540"/>
                    <a:pt x="704" y="538"/>
                  </a:cubicBezTo>
                  <a:cubicBezTo>
                    <a:pt x="681" y="536"/>
                    <a:pt x="661" y="542"/>
                    <a:pt x="646" y="560"/>
                  </a:cubicBezTo>
                  <a:cubicBezTo>
                    <a:pt x="638" y="569"/>
                    <a:pt x="638" y="569"/>
                    <a:pt x="631" y="559"/>
                  </a:cubicBezTo>
                  <a:cubicBezTo>
                    <a:pt x="630" y="558"/>
                    <a:pt x="630" y="557"/>
                    <a:pt x="629" y="556"/>
                  </a:cubicBezTo>
                  <a:cubicBezTo>
                    <a:pt x="623" y="548"/>
                    <a:pt x="616" y="541"/>
                    <a:pt x="607" y="539"/>
                  </a:cubicBezTo>
                  <a:cubicBezTo>
                    <a:pt x="584" y="534"/>
                    <a:pt x="563" y="539"/>
                    <a:pt x="545" y="555"/>
                  </a:cubicBezTo>
                  <a:cubicBezTo>
                    <a:pt x="540" y="559"/>
                    <a:pt x="537" y="561"/>
                    <a:pt x="537" y="552"/>
                  </a:cubicBezTo>
                  <a:cubicBezTo>
                    <a:pt x="536" y="543"/>
                    <a:pt x="526" y="538"/>
                    <a:pt x="515" y="539"/>
                  </a:cubicBezTo>
                  <a:cubicBezTo>
                    <a:pt x="506" y="540"/>
                    <a:pt x="507" y="546"/>
                    <a:pt x="507" y="552"/>
                  </a:cubicBezTo>
                  <a:cubicBezTo>
                    <a:pt x="507" y="580"/>
                    <a:pt x="507" y="607"/>
                    <a:pt x="507" y="634"/>
                  </a:cubicBezTo>
                  <a:cubicBezTo>
                    <a:pt x="507" y="660"/>
                    <a:pt x="507" y="685"/>
                    <a:pt x="507" y="711"/>
                  </a:cubicBezTo>
                  <a:close/>
                  <a:moveTo>
                    <a:pt x="1525" y="1142"/>
                  </a:moveTo>
                  <a:cubicBezTo>
                    <a:pt x="1517" y="1143"/>
                    <a:pt x="1511" y="1141"/>
                    <a:pt x="1505" y="1136"/>
                  </a:cubicBezTo>
                  <a:cubicBezTo>
                    <a:pt x="1501" y="1133"/>
                    <a:pt x="1495" y="1130"/>
                    <a:pt x="1498" y="1124"/>
                  </a:cubicBezTo>
                  <a:cubicBezTo>
                    <a:pt x="1500" y="1118"/>
                    <a:pt x="1504" y="1114"/>
                    <a:pt x="1512" y="1114"/>
                  </a:cubicBezTo>
                  <a:cubicBezTo>
                    <a:pt x="1521" y="1115"/>
                    <a:pt x="1530" y="1114"/>
                    <a:pt x="1538" y="1115"/>
                  </a:cubicBezTo>
                  <a:cubicBezTo>
                    <a:pt x="1573" y="1117"/>
                    <a:pt x="1610" y="1084"/>
                    <a:pt x="1602" y="1044"/>
                  </a:cubicBezTo>
                  <a:cubicBezTo>
                    <a:pt x="1600" y="1035"/>
                    <a:pt x="1599" y="1028"/>
                    <a:pt x="1611" y="1027"/>
                  </a:cubicBezTo>
                  <a:cubicBezTo>
                    <a:pt x="1614" y="1027"/>
                    <a:pt x="1617" y="1024"/>
                    <a:pt x="1619" y="1023"/>
                  </a:cubicBezTo>
                  <a:cubicBezTo>
                    <a:pt x="1626" y="1019"/>
                    <a:pt x="1624" y="1013"/>
                    <a:pt x="1623" y="1008"/>
                  </a:cubicBezTo>
                  <a:cubicBezTo>
                    <a:pt x="1623" y="1002"/>
                    <a:pt x="1618" y="1003"/>
                    <a:pt x="1613" y="1002"/>
                  </a:cubicBezTo>
                  <a:cubicBezTo>
                    <a:pt x="1598" y="1002"/>
                    <a:pt x="1582" y="1004"/>
                    <a:pt x="1567" y="1000"/>
                  </a:cubicBezTo>
                  <a:cubicBezTo>
                    <a:pt x="1560" y="999"/>
                    <a:pt x="1554" y="993"/>
                    <a:pt x="1546" y="993"/>
                  </a:cubicBezTo>
                  <a:cubicBezTo>
                    <a:pt x="1536" y="994"/>
                    <a:pt x="1525" y="992"/>
                    <a:pt x="1515" y="993"/>
                  </a:cubicBezTo>
                  <a:cubicBezTo>
                    <a:pt x="1490" y="997"/>
                    <a:pt x="1469" y="1010"/>
                    <a:pt x="1462" y="1034"/>
                  </a:cubicBezTo>
                  <a:cubicBezTo>
                    <a:pt x="1455" y="1056"/>
                    <a:pt x="1457" y="1079"/>
                    <a:pt x="1476" y="1096"/>
                  </a:cubicBezTo>
                  <a:cubicBezTo>
                    <a:pt x="1483" y="1103"/>
                    <a:pt x="1483" y="1107"/>
                    <a:pt x="1476" y="1113"/>
                  </a:cubicBezTo>
                  <a:cubicBezTo>
                    <a:pt x="1462" y="1126"/>
                    <a:pt x="1462" y="1142"/>
                    <a:pt x="1473" y="1157"/>
                  </a:cubicBezTo>
                  <a:cubicBezTo>
                    <a:pt x="1476" y="1160"/>
                    <a:pt x="1476" y="1162"/>
                    <a:pt x="1472" y="1164"/>
                  </a:cubicBezTo>
                  <a:cubicBezTo>
                    <a:pt x="1470" y="1166"/>
                    <a:pt x="1468" y="1168"/>
                    <a:pt x="1466" y="1170"/>
                  </a:cubicBezTo>
                  <a:cubicBezTo>
                    <a:pt x="1449" y="1183"/>
                    <a:pt x="1444" y="1201"/>
                    <a:pt x="1454" y="1218"/>
                  </a:cubicBezTo>
                  <a:cubicBezTo>
                    <a:pt x="1464" y="1235"/>
                    <a:pt x="1479" y="1246"/>
                    <a:pt x="1499" y="1249"/>
                  </a:cubicBezTo>
                  <a:cubicBezTo>
                    <a:pt x="1517" y="1252"/>
                    <a:pt x="1535" y="1253"/>
                    <a:pt x="1553" y="1250"/>
                  </a:cubicBezTo>
                  <a:cubicBezTo>
                    <a:pt x="1584" y="1245"/>
                    <a:pt x="1607" y="1232"/>
                    <a:pt x="1619" y="1200"/>
                  </a:cubicBezTo>
                  <a:cubicBezTo>
                    <a:pt x="1627" y="1180"/>
                    <a:pt x="1611" y="1155"/>
                    <a:pt x="1593" y="1148"/>
                  </a:cubicBezTo>
                  <a:cubicBezTo>
                    <a:pt x="1578" y="1142"/>
                    <a:pt x="1563" y="1143"/>
                    <a:pt x="1549" y="1142"/>
                  </a:cubicBezTo>
                  <a:cubicBezTo>
                    <a:pt x="1540" y="1142"/>
                    <a:pt x="1532" y="1142"/>
                    <a:pt x="1525" y="1142"/>
                  </a:cubicBezTo>
                  <a:close/>
                  <a:moveTo>
                    <a:pt x="1556" y="1172"/>
                  </a:moveTo>
                  <a:cubicBezTo>
                    <a:pt x="1566" y="1172"/>
                    <a:pt x="1576" y="1176"/>
                    <a:pt x="1583" y="1183"/>
                  </a:cubicBezTo>
                  <a:cubicBezTo>
                    <a:pt x="1589" y="1190"/>
                    <a:pt x="1589" y="1198"/>
                    <a:pt x="1583" y="1205"/>
                  </a:cubicBezTo>
                  <a:cubicBezTo>
                    <a:pt x="1575" y="1215"/>
                    <a:pt x="1565" y="1220"/>
                    <a:pt x="1553" y="1223"/>
                  </a:cubicBezTo>
                  <a:cubicBezTo>
                    <a:pt x="1534" y="1228"/>
                    <a:pt x="1516" y="1225"/>
                    <a:pt x="1499" y="1219"/>
                  </a:cubicBezTo>
                  <a:cubicBezTo>
                    <a:pt x="1486" y="1214"/>
                    <a:pt x="1479" y="1203"/>
                    <a:pt x="1482" y="1193"/>
                  </a:cubicBezTo>
                  <a:cubicBezTo>
                    <a:pt x="1485" y="1182"/>
                    <a:pt x="1496" y="1168"/>
                    <a:pt x="1514" y="1171"/>
                  </a:cubicBezTo>
                  <a:cubicBezTo>
                    <a:pt x="1526" y="1173"/>
                    <a:pt x="1541" y="1171"/>
                    <a:pt x="1556" y="1172"/>
                  </a:cubicBezTo>
                  <a:close/>
                  <a:moveTo>
                    <a:pt x="1531" y="1019"/>
                  </a:moveTo>
                  <a:cubicBezTo>
                    <a:pt x="1553" y="1017"/>
                    <a:pt x="1570" y="1033"/>
                    <a:pt x="1570" y="1052"/>
                  </a:cubicBezTo>
                  <a:cubicBezTo>
                    <a:pt x="1570" y="1075"/>
                    <a:pt x="1554" y="1093"/>
                    <a:pt x="1532" y="1091"/>
                  </a:cubicBezTo>
                  <a:cubicBezTo>
                    <a:pt x="1508" y="1089"/>
                    <a:pt x="1494" y="1082"/>
                    <a:pt x="1493" y="1053"/>
                  </a:cubicBezTo>
                  <a:cubicBezTo>
                    <a:pt x="1494" y="1029"/>
                    <a:pt x="1508" y="1020"/>
                    <a:pt x="1531" y="1019"/>
                  </a:cubicBezTo>
                  <a:close/>
                  <a:moveTo>
                    <a:pt x="1413" y="934"/>
                  </a:moveTo>
                  <a:cubicBezTo>
                    <a:pt x="1413" y="909"/>
                    <a:pt x="1413" y="909"/>
                    <a:pt x="1389" y="910"/>
                  </a:cubicBezTo>
                  <a:cubicBezTo>
                    <a:pt x="1388" y="910"/>
                    <a:pt x="1387" y="910"/>
                    <a:pt x="1387" y="910"/>
                  </a:cubicBezTo>
                  <a:cubicBezTo>
                    <a:pt x="1379" y="910"/>
                    <a:pt x="1376" y="915"/>
                    <a:pt x="1376" y="921"/>
                  </a:cubicBezTo>
                  <a:cubicBezTo>
                    <a:pt x="1376" y="939"/>
                    <a:pt x="1377" y="956"/>
                    <a:pt x="1377" y="974"/>
                  </a:cubicBezTo>
                  <a:cubicBezTo>
                    <a:pt x="1377" y="983"/>
                    <a:pt x="1377" y="991"/>
                    <a:pt x="1377" y="1000"/>
                  </a:cubicBezTo>
                  <a:cubicBezTo>
                    <a:pt x="1377" y="1005"/>
                    <a:pt x="1374" y="1009"/>
                    <a:pt x="1369" y="1005"/>
                  </a:cubicBezTo>
                  <a:cubicBezTo>
                    <a:pt x="1352" y="990"/>
                    <a:pt x="1332" y="993"/>
                    <a:pt x="1312" y="993"/>
                  </a:cubicBezTo>
                  <a:cubicBezTo>
                    <a:pt x="1303" y="994"/>
                    <a:pt x="1294" y="998"/>
                    <a:pt x="1287" y="1003"/>
                  </a:cubicBezTo>
                  <a:cubicBezTo>
                    <a:pt x="1265" y="1017"/>
                    <a:pt x="1252" y="1039"/>
                    <a:pt x="1248" y="1065"/>
                  </a:cubicBezTo>
                  <a:cubicBezTo>
                    <a:pt x="1244" y="1096"/>
                    <a:pt x="1244" y="1128"/>
                    <a:pt x="1261" y="1157"/>
                  </a:cubicBezTo>
                  <a:cubicBezTo>
                    <a:pt x="1270" y="1170"/>
                    <a:pt x="1281" y="1181"/>
                    <a:pt x="1296" y="1185"/>
                  </a:cubicBezTo>
                  <a:cubicBezTo>
                    <a:pt x="1323" y="1191"/>
                    <a:pt x="1349" y="1188"/>
                    <a:pt x="1370" y="1167"/>
                  </a:cubicBezTo>
                  <a:cubicBezTo>
                    <a:pt x="1372" y="1165"/>
                    <a:pt x="1375" y="1162"/>
                    <a:pt x="1379" y="1163"/>
                  </a:cubicBezTo>
                  <a:cubicBezTo>
                    <a:pt x="1382" y="1165"/>
                    <a:pt x="1381" y="1169"/>
                    <a:pt x="1381" y="1172"/>
                  </a:cubicBezTo>
                  <a:cubicBezTo>
                    <a:pt x="1383" y="1181"/>
                    <a:pt x="1390" y="1186"/>
                    <a:pt x="1403" y="1186"/>
                  </a:cubicBezTo>
                  <a:cubicBezTo>
                    <a:pt x="1413" y="1185"/>
                    <a:pt x="1413" y="1178"/>
                    <a:pt x="1413" y="1172"/>
                  </a:cubicBezTo>
                  <a:cubicBezTo>
                    <a:pt x="1413" y="1131"/>
                    <a:pt x="1413" y="1090"/>
                    <a:pt x="1413" y="1049"/>
                  </a:cubicBezTo>
                  <a:cubicBezTo>
                    <a:pt x="1413" y="1010"/>
                    <a:pt x="1413" y="972"/>
                    <a:pt x="1413" y="934"/>
                  </a:cubicBezTo>
                  <a:close/>
                  <a:moveTo>
                    <a:pt x="1378" y="1113"/>
                  </a:moveTo>
                  <a:cubicBezTo>
                    <a:pt x="1378" y="1136"/>
                    <a:pt x="1360" y="1155"/>
                    <a:pt x="1337" y="1157"/>
                  </a:cubicBezTo>
                  <a:cubicBezTo>
                    <a:pt x="1319" y="1159"/>
                    <a:pt x="1304" y="1154"/>
                    <a:pt x="1294" y="1139"/>
                  </a:cubicBezTo>
                  <a:cubicBezTo>
                    <a:pt x="1286" y="1128"/>
                    <a:pt x="1283" y="1116"/>
                    <a:pt x="1283" y="1102"/>
                  </a:cubicBezTo>
                  <a:cubicBezTo>
                    <a:pt x="1282" y="1085"/>
                    <a:pt x="1282" y="1067"/>
                    <a:pt x="1290" y="1051"/>
                  </a:cubicBezTo>
                  <a:cubicBezTo>
                    <a:pt x="1297" y="1036"/>
                    <a:pt x="1308" y="1024"/>
                    <a:pt x="1325" y="1022"/>
                  </a:cubicBezTo>
                  <a:cubicBezTo>
                    <a:pt x="1342" y="1020"/>
                    <a:pt x="1358" y="1021"/>
                    <a:pt x="1371" y="1035"/>
                  </a:cubicBezTo>
                  <a:cubicBezTo>
                    <a:pt x="1376" y="1041"/>
                    <a:pt x="1378" y="1046"/>
                    <a:pt x="1378" y="1052"/>
                  </a:cubicBezTo>
                  <a:cubicBezTo>
                    <a:pt x="1378" y="1064"/>
                    <a:pt x="1378" y="1075"/>
                    <a:pt x="1378" y="1086"/>
                  </a:cubicBezTo>
                  <a:cubicBezTo>
                    <a:pt x="1378" y="1086"/>
                    <a:pt x="1378" y="1086"/>
                    <a:pt x="1378" y="1086"/>
                  </a:cubicBezTo>
                  <a:cubicBezTo>
                    <a:pt x="1378" y="1095"/>
                    <a:pt x="1378" y="1104"/>
                    <a:pt x="1378" y="1113"/>
                  </a:cubicBezTo>
                  <a:close/>
                  <a:moveTo>
                    <a:pt x="578" y="259"/>
                  </a:moveTo>
                  <a:cubicBezTo>
                    <a:pt x="603" y="241"/>
                    <a:pt x="611" y="213"/>
                    <a:pt x="614" y="183"/>
                  </a:cubicBezTo>
                  <a:cubicBezTo>
                    <a:pt x="615" y="171"/>
                    <a:pt x="610" y="159"/>
                    <a:pt x="609" y="147"/>
                  </a:cubicBezTo>
                  <a:cubicBezTo>
                    <a:pt x="608" y="137"/>
                    <a:pt x="603" y="129"/>
                    <a:pt x="599" y="121"/>
                  </a:cubicBezTo>
                  <a:cubicBezTo>
                    <a:pt x="579" y="87"/>
                    <a:pt x="527" y="70"/>
                    <a:pt x="488" y="85"/>
                  </a:cubicBezTo>
                  <a:cubicBezTo>
                    <a:pt x="453" y="99"/>
                    <a:pt x="436" y="127"/>
                    <a:pt x="431" y="163"/>
                  </a:cubicBezTo>
                  <a:cubicBezTo>
                    <a:pt x="429" y="180"/>
                    <a:pt x="430" y="196"/>
                    <a:pt x="436" y="213"/>
                  </a:cubicBezTo>
                  <a:cubicBezTo>
                    <a:pt x="439" y="222"/>
                    <a:pt x="442" y="232"/>
                    <a:pt x="447" y="239"/>
                  </a:cubicBezTo>
                  <a:cubicBezTo>
                    <a:pt x="465" y="265"/>
                    <a:pt x="491" y="277"/>
                    <a:pt x="525" y="276"/>
                  </a:cubicBezTo>
                  <a:cubicBezTo>
                    <a:pt x="543" y="278"/>
                    <a:pt x="562" y="271"/>
                    <a:pt x="578" y="259"/>
                  </a:cubicBezTo>
                  <a:close/>
                  <a:moveTo>
                    <a:pt x="471" y="205"/>
                  </a:moveTo>
                  <a:cubicBezTo>
                    <a:pt x="466" y="185"/>
                    <a:pt x="468" y="167"/>
                    <a:pt x="472" y="147"/>
                  </a:cubicBezTo>
                  <a:cubicBezTo>
                    <a:pt x="477" y="130"/>
                    <a:pt x="493" y="116"/>
                    <a:pt x="509" y="112"/>
                  </a:cubicBezTo>
                  <a:cubicBezTo>
                    <a:pt x="525" y="108"/>
                    <a:pt x="539" y="110"/>
                    <a:pt x="553" y="119"/>
                  </a:cubicBezTo>
                  <a:cubicBezTo>
                    <a:pt x="563" y="125"/>
                    <a:pt x="568" y="135"/>
                    <a:pt x="571" y="146"/>
                  </a:cubicBezTo>
                  <a:cubicBezTo>
                    <a:pt x="577" y="167"/>
                    <a:pt x="578" y="189"/>
                    <a:pt x="571" y="211"/>
                  </a:cubicBezTo>
                  <a:cubicBezTo>
                    <a:pt x="565" y="231"/>
                    <a:pt x="549" y="249"/>
                    <a:pt x="521" y="247"/>
                  </a:cubicBezTo>
                  <a:cubicBezTo>
                    <a:pt x="496" y="247"/>
                    <a:pt x="478" y="230"/>
                    <a:pt x="471" y="205"/>
                  </a:cubicBezTo>
                  <a:close/>
                  <a:moveTo>
                    <a:pt x="472" y="1122"/>
                  </a:moveTo>
                  <a:cubicBezTo>
                    <a:pt x="475" y="1136"/>
                    <a:pt x="481" y="1148"/>
                    <a:pt x="491" y="1158"/>
                  </a:cubicBezTo>
                  <a:cubicBezTo>
                    <a:pt x="506" y="1176"/>
                    <a:pt x="524" y="1185"/>
                    <a:pt x="548" y="1187"/>
                  </a:cubicBezTo>
                  <a:cubicBezTo>
                    <a:pt x="568" y="1188"/>
                    <a:pt x="587" y="1187"/>
                    <a:pt x="605" y="1177"/>
                  </a:cubicBezTo>
                  <a:cubicBezTo>
                    <a:pt x="632" y="1162"/>
                    <a:pt x="644" y="1136"/>
                    <a:pt x="649" y="1107"/>
                  </a:cubicBezTo>
                  <a:cubicBezTo>
                    <a:pt x="652" y="1089"/>
                    <a:pt x="649" y="1072"/>
                    <a:pt x="644" y="1054"/>
                  </a:cubicBezTo>
                  <a:cubicBezTo>
                    <a:pt x="638" y="1034"/>
                    <a:pt x="627" y="1019"/>
                    <a:pt x="610" y="1007"/>
                  </a:cubicBezTo>
                  <a:cubicBezTo>
                    <a:pt x="589" y="992"/>
                    <a:pt x="566" y="991"/>
                    <a:pt x="541" y="994"/>
                  </a:cubicBezTo>
                  <a:cubicBezTo>
                    <a:pt x="526" y="995"/>
                    <a:pt x="512" y="1002"/>
                    <a:pt x="500" y="1012"/>
                  </a:cubicBezTo>
                  <a:cubicBezTo>
                    <a:pt x="476" y="1032"/>
                    <a:pt x="469" y="1060"/>
                    <a:pt x="466" y="1095"/>
                  </a:cubicBezTo>
                  <a:cubicBezTo>
                    <a:pt x="465" y="1101"/>
                    <a:pt x="470" y="1111"/>
                    <a:pt x="472" y="1122"/>
                  </a:cubicBezTo>
                  <a:close/>
                  <a:moveTo>
                    <a:pt x="508" y="1113"/>
                  </a:moveTo>
                  <a:cubicBezTo>
                    <a:pt x="505" y="1095"/>
                    <a:pt x="506" y="1078"/>
                    <a:pt x="508" y="1061"/>
                  </a:cubicBezTo>
                  <a:cubicBezTo>
                    <a:pt x="511" y="1042"/>
                    <a:pt x="538" y="1021"/>
                    <a:pt x="554" y="1022"/>
                  </a:cubicBezTo>
                  <a:cubicBezTo>
                    <a:pt x="570" y="1022"/>
                    <a:pt x="586" y="1024"/>
                    <a:pt x="596" y="1037"/>
                  </a:cubicBezTo>
                  <a:cubicBezTo>
                    <a:pt x="602" y="1044"/>
                    <a:pt x="607" y="1052"/>
                    <a:pt x="608" y="1061"/>
                  </a:cubicBezTo>
                  <a:cubicBezTo>
                    <a:pt x="608" y="1064"/>
                    <a:pt x="609" y="1067"/>
                    <a:pt x="610" y="1070"/>
                  </a:cubicBezTo>
                  <a:cubicBezTo>
                    <a:pt x="618" y="1089"/>
                    <a:pt x="612" y="1107"/>
                    <a:pt x="607" y="1125"/>
                  </a:cubicBezTo>
                  <a:cubicBezTo>
                    <a:pt x="601" y="1143"/>
                    <a:pt x="588" y="1160"/>
                    <a:pt x="558" y="1157"/>
                  </a:cubicBezTo>
                  <a:cubicBezTo>
                    <a:pt x="530" y="1157"/>
                    <a:pt x="512" y="1141"/>
                    <a:pt x="508" y="1113"/>
                  </a:cubicBezTo>
                  <a:close/>
                  <a:moveTo>
                    <a:pt x="430" y="716"/>
                  </a:moveTo>
                  <a:cubicBezTo>
                    <a:pt x="450" y="703"/>
                    <a:pt x="459" y="683"/>
                    <a:pt x="464" y="661"/>
                  </a:cubicBezTo>
                  <a:cubicBezTo>
                    <a:pt x="468" y="648"/>
                    <a:pt x="467" y="635"/>
                    <a:pt x="466" y="621"/>
                  </a:cubicBezTo>
                  <a:cubicBezTo>
                    <a:pt x="463" y="592"/>
                    <a:pt x="453" y="567"/>
                    <a:pt x="427" y="550"/>
                  </a:cubicBezTo>
                  <a:cubicBezTo>
                    <a:pt x="401" y="534"/>
                    <a:pt x="372" y="532"/>
                    <a:pt x="345" y="541"/>
                  </a:cubicBezTo>
                  <a:cubicBezTo>
                    <a:pt x="310" y="552"/>
                    <a:pt x="291" y="580"/>
                    <a:pt x="287" y="617"/>
                  </a:cubicBezTo>
                  <a:cubicBezTo>
                    <a:pt x="286" y="629"/>
                    <a:pt x="286" y="641"/>
                    <a:pt x="287" y="654"/>
                  </a:cubicBezTo>
                  <a:cubicBezTo>
                    <a:pt x="289" y="671"/>
                    <a:pt x="295" y="686"/>
                    <a:pt x="306" y="700"/>
                  </a:cubicBezTo>
                  <a:cubicBezTo>
                    <a:pt x="324" y="722"/>
                    <a:pt x="348" y="733"/>
                    <a:pt x="378" y="731"/>
                  </a:cubicBezTo>
                  <a:cubicBezTo>
                    <a:pt x="396" y="733"/>
                    <a:pt x="414" y="727"/>
                    <a:pt x="430" y="716"/>
                  </a:cubicBezTo>
                  <a:close/>
                  <a:moveTo>
                    <a:pt x="331" y="592"/>
                  </a:moveTo>
                  <a:cubicBezTo>
                    <a:pt x="339" y="580"/>
                    <a:pt x="349" y="569"/>
                    <a:pt x="365" y="567"/>
                  </a:cubicBezTo>
                  <a:cubicBezTo>
                    <a:pt x="387" y="564"/>
                    <a:pt x="406" y="568"/>
                    <a:pt x="419" y="588"/>
                  </a:cubicBezTo>
                  <a:cubicBezTo>
                    <a:pt x="423" y="595"/>
                    <a:pt x="426" y="603"/>
                    <a:pt x="427" y="610"/>
                  </a:cubicBezTo>
                  <a:cubicBezTo>
                    <a:pt x="433" y="635"/>
                    <a:pt x="431" y="661"/>
                    <a:pt x="416" y="684"/>
                  </a:cubicBezTo>
                  <a:cubicBezTo>
                    <a:pt x="403" y="706"/>
                    <a:pt x="362" y="708"/>
                    <a:pt x="345" y="692"/>
                  </a:cubicBezTo>
                  <a:cubicBezTo>
                    <a:pt x="329" y="678"/>
                    <a:pt x="323" y="661"/>
                    <a:pt x="323" y="631"/>
                  </a:cubicBezTo>
                  <a:cubicBezTo>
                    <a:pt x="323" y="619"/>
                    <a:pt x="323" y="605"/>
                    <a:pt x="331" y="592"/>
                  </a:cubicBezTo>
                  <a:close/>
                  <a:moveTo>
                    <a:pt x="1073" y="259"/>
                  </a:moveTo>
                  <a:cubicBezTo>
                    <a:pt x="1073" y="269"/>
                    <a:pt x="1075" y="272"/>
                    <a:pt x="1086" y="272"/>
                  </a:cubicBezTo>
                  <a:cubicBezTo>
                    <a:pt x="1088" y="272"/>
                    <a:pt x="1090" y="272"/>
                    <a:pt x="1092" y="272"/>
                  </a:cubicBezTo>
                  <a:cubicBezTo>
                    <a:pt x="1105" y="272"/>
                    <a:pt x="1106" y="271"/>
                    <a:pt x="1106" y="258"/>
                  </a:cubicBezTo>
                  <a:cubicBezTo>
                    <a:pt x="1106" y="221"/>
                    <a:pt x="1106" y="184"/>
                    <a:pt x="1106" y="147"/>
                  </a:cubicBezTo>
                  <a:cubicBezTo>
                    <a:pt x="1106" y="143"/>
                    <a:pt x="1106" y="140"/>
                    <a:pt x="1107" y="137"/>
                  </a:cubicBezTo>
                  <a:cubicBezTo>
                    <a:pt x="1117" y="117"/>
                    <a:pt x="1157" y="104"/>
                    <a:pt x="1177" y="114"/>
                  </a:cubicBezTo>
                  <a:cubicBezTo>
                    <a:pt x="1179" y="115"/>
                    <a:pt x="1180" y="117"/>
                    <a:pt x="1182" y="118"/>
                  </a:cubicBezTo>
                  <a:cubicBezTo>
                    <a:pt x="1194" y="131"/>
                    <a:pt x="1196" y="147"/>
                    <a:pt x="1196" y="163"/>
                  </a:cubicBezTo>
                  <a:cubicBezTo>
                    <a:pt x="1197" y="195"/>
                    <a:pt x="1196" y="226"/>
                    <a:pt x="1196" y="258"/>
                  </a:cubicBezTo>
                  <a:cubicBezTo>
                    <a:pt x="1196" y="271"/>
                    <a:pt x="1197" y="272"/>
                    <a:pt x="1210" y="272"/>
                  </a:cubicBezTo>
                  <a:cubicBezTo>
                    <a:pt x="1212" y="272"/>
                    <a:pt x="1213" y="272"/>
                    <a:pt x="1215" y="272"/>
                  </a:cubicBezTo>
                  <a:cubicBezTo>
                    <a:pt x="1227" y="272"/>
                    <a:pt x="1229" y="270"/>
                    <a:pt x="1229" y="258"/>
                  </a:cubicBezTo>
                  <a:cubicBezTo>
                    <a:pt x="1229" y="222"/>
                    <a:pt x="1229" y="187"/>
                    <a:pt x="1229" y="151"/>
                  </a:cubicBezTo>
                  <a:cubicBezTo>
                    <a:pt x="1229" y="142"/>
                    <a:pt x="1228" y="132"/>
                    <a:pt x="1225" y="123"/>
                  </a:cubicBezTo>
                  <a:cubicBezTo>
                    <a:pt x="1219" y="105"/>
                    <a:pt x="1208" y="91"/>
                    <a:pt x="1189" y="85"/>
                  </a:cubicBezTo>
                  <a:cubicBezTo>
                    <a:pt x="1173" y="80"/>
                    <a:pt x="1156" y="84"/>
                    <a:pt x="1139" y="84"/>
                  </a:cubicBezTo>
                  <a:cubicBezTo>
                    <a:pt x="1137" y="84"/>
                    <a:pt x="1136" y="86"/>
                    <a:pt x="1134" y="87"/>
                  </a:cubicBezTo>
                  <a:cubicBezTo>
                    <a:pt x="1128" y="91"/>
                    <a:pt x="1121" y="96"/>
                    <a:pt x="1115" y="100"/>
                  </a:cubicBezTo>
                  <a:cubicBezTo>
                    <a:pt x="1113" y="102"/>
                    <a:pt x="1111" y="105"/>
                    <a:pt x="1108" y="103"/>
                  </a:cubicBezTo>
                  <a:cubicBezTo>
                    <a:pt x="1105" y="102"/>
                    <a:pt x="1106" y="98"/>
                    <a:pt x="1106" y="96"/>
                  </a:cubicBezTo>
                  <a:cubicBezTo>
                    <a:pt x="1106" y="69"/>
                    <a:pt x="1106" y="43"/>
                    <a:pt x="1106" y="17"/>
                  </a:cubicBezTo>
                  <a:cubicBezTo>
                    <a:pt x="1106" y="0"/>
                    <a:pt x="1106" y="0"/>
                    <a:pt x="1089" y="0"/>
                  </a:cubicBezTo>
                  <a:cubicBezTo>
                    <a:pt x="1074" y="0"/>
                    <a:pt x="1073" y="1"/>
                    <a:pt x="1073" y="16"/>
                  </a:cubicBezTo>
                  <a:cubicBezTo>
                    <a:pt x="1073" y="56"/>
                    <a:pt x="1073" y="96"/>
                    <a:pt x="1073" y="136"/>
                  </a:cubicBezTo>
                  <a:cubicBezTo>
                    <a:pt x="1073" y="177"/>
                    <a:pt x="1073" y="218"/>
                    <a:pt x="1073" y="259"/>
                  </a:cubicBezTo>
                  <a:close/>
                  <a:moveTo>
                    <a:pt x="1150" y="1092"/>
                  </a:moveTo>
                  <a:cubicBezTo>
                    <a:pt x="1168" y="1092"/>
                    <a:pt x="1186" y="1092"/>
                    <a:pt x="1204" y="1092"/>
                  </a:cubicBezTo>
                  <a:cubicBezTo>
                    <a:pt x="1215" y="1092"/>
                    <a:pt x="1218" y="1087"/>
                    <a:pt x="1219" y="1077"/>
                  </a:cubicBezTo>
                  <a:cubicBezTo>
                    <a:pt x="1220" y="1062"/>
                    <a:pt x="1216" y="1049"/>
                    <a:pt x="1210" y="1036"/>
                  </a:cubicBezTo>
                  <a:cubicBezTo>
                    <a:pt x="1204" y="1020"/>
                    <a:pt x="1193" y="1008"/>
                    <a:pt x="1177" y="1001"/>
                  </a:cubicBezTo>
                  <a:cubicBezTo>
                    <a:pt x="1155" y="992"/>
                    <a:pt x="1133" y="991"/>
                    <a:pt x="1109" y="999"/>
                  </a:cubicBezTo>
                  <a:cubicBezTo>
                    <a:pt x="1079" y="1010"/>
                    <a:pt x="1062" y="1031"/>
                    <a:pt x="1056" y="1061"/>
                  </a:cubicBezTo>
                  <a:cubicBezTo>
                    <a:pt x="1051" y="1090"/>
                    <a:pt x="1052" y="1120"/>
                    <a:pt x="1069" y="1148"/>
                  </a:cubicBezTo>
                  <a:cubicBezTo>
                    <a:pt x="1081" y="1169"/>
                    <a:pt x="1100" y="1180"/>
                    <a:pt x="1122" y="1185"/>
                  </a:cubicBezTo>
                  <a:cubicBezTo>
                    <a:pt x="1149" y="1190"/>
                    <a:pt x="1176" y="1186"/>
                    <a:pt x="1200" y="1171"/>
                  </a:cubicBezTo>
                  <a:cubicBezTo>
                    <a:pt x="1206" y="1168"/>
                    <a:pt x="1213" y="1165"/>
                    <a:pt x="1214" y="1157"/>
                  </a:cubicBezTo>
                  <a:cubicBezTo>
                    <a:pt x="1215" y="1147"/>
                    <a:pt x="1202" y="1139"/>
                    <a:pt x="1193" y="1144"/>
                  </a:cubicBezTo>
                  <a:cubicBezTo>
                    <a:pt x="1187" y="1147"/>
                    <a:pt x="1180" y="1150"/>
                    <a:pt x="1174" y="1153"/>
                  </a:cubicBezTo>
                  <a:cubicBezTo>
                    <a:pt x="1158" y="1161"/>
                    <a:pt x="1140" y="1161"/>
                    <a:pt x="1124" y="1155"/>
                  </a:cubicBezTo>
                  <a:cubicBezTo>
                    <a:pt x="1112" y="1151"/>
                    <a:pt x="1102" y="1142"/>
                    <a:pt x="1096" y="1129"/>
                  </a:cubicBezTo>
                  <a:cubicBezTo>
                    <a:pt x="1092" y="1121"/>
                    <a:pt x="1091" y="1112"/>
                    <a:pt x="1089" y="1104"/>
                  </a:cubicBezTo>
                  <a:cubicBezTo>
                    <a:pt x="1087" y="1093"/>
                    <a:pt x="1087" y="1092"/>
                    <a:pt x="1099" y="1092"/>
                  </a:cubicBezTo>
                  <a:cubicBezTo>
                    <a:pt x="1116" y="1092"/>
                    <a:pt x="1133" y="1092"/>
                    <a:pt x="1150" y="1092"/>
                  </a:cubicBezTo>
                  <a:cubicBezTo>
                    <a:pt x="1150" y="1092"/>
                    <a:pt x="1150" y="1092"/>
                    <a:pt x="1150" y="1092"/>
                  </a:cubicBezTo>
                  <a:close/>
                  <a:moveTo>
                    <a:pt x="1099" y="1070"/>
                  </a:moveTo>
                  <a:cubicBezTo>
                    <a:pt x="1092" y="1071"/>
                    <a:pt x="1089" y="1067"/>
                    <a:pt x="1091" y="1060"/>
                  </a:cubicBezTo>
                  <a:cubicBezTo>
                    <a:pt x="1094" y="1045"/>
                    <a:pt x="1108" y="1023"/>
                    <a:pt x="1128" y="1022"/>
                  </a:cubicBezTo>
                  <a:cubicBezTo>
                    <a:pt x="1142" y="1021"/>
                    <a:pt x="1156" y="1018"/>
                    <a:pt x="1168" y="1029"/>
                  </a:cubicBezTo>
                  <a:cubicBezTo>
                    <a:pt x="1181" y="1038"/>
                    <a:pt x="1185" y="1051"/>
                    <a:pt x="1187" y="1066"/>
                  </a:cubicBezTo>
                  <a:cubicBezTo>
                    <a:pt x="1188" y="1071"/>
                    <a:pt x="1183" y="1070"/>
                    <a:pt x="1180" y="1070"/>
                  </a:cubicBezTo>
                  <a:cubicBezTo>
                    <a:pt x="1166" y="1070"/>
                    <a:pt x="1153" y="1070"/>
                    <a:pt x="1139" y="1070"/>
                  </a:cubicBezTo>
                  <a:cubicBezTo>
                    <a:pt x="1139" y="1070"/>
                    <a:pt x="1139" y="1070"/>
                    <a:pt x="1139" y="1070"/>
                  </a:cubicBezTo>
                  <a:cubicBezTo>
                    <a:pt x="1126" y="1070"/>
                    <a:pt x="1113" y="1070"/>
                    <a:pt x="1099" y="1070"/>
                  </a:cubicBezTo>
                  <a:close/>
                  <a:moveTo>
                    <a:pt x="1741" y="1092"/>
                  </a:moveTo>
                  <a:cubicBezTo>
                    <a:pt x="1759" y="1092"/>
                    <a:pt x="1776" y="1092"/>
                    <a:pt x="1793" y="1092"/>
                  </a:cubicBezTo>
                  <a:cubicBezTo>
                    <a:pt x="1806" y="1092"/>
                    <a:pt x="1808" y="1089"/>
                    <a:pt x="1808" y="1076"/>
                  </a:cubicBezTo>
                  <a:cubicBezTo>
                    <a:pt x="1809" y="1063"/>
                    <a:pt x="1807" y="1051"/>
                    <a:pt x="1802" y="1038"/>
                  </a:cubicBezTo>
                  <a:cubicBezTo>
                    <a:pt x="1794" y="1021"/>
                    <a:pt x="1782" y="1008"/>
                    <a:pt x="1764" y="1000"/>
                  </a:cubicBezTo>
                  <a:cubicBezTo>
                    <a:pt x="1742" y="991"/>
                    <a:pt x="1720" y="991"/>
                    <a:pt x="1698" y="1000"/>
                  </a:cubicBezTo>
                  <a:cubicBezTo>
                    <a:pt x="1681" y="1006"/>
                    <a:pt x="1668" y="1016"/>
                    <a:pt x="1659" y="1031"/>
                  </a:cubicBezTo>
                  <a:cubicBezTo>
                    <a:pt x="1646" y="1050"/>
                    <a:pt x="1643" y="1071"/>
                    <a:pt x="1644" y="1094"/>
                  </a:cubicBezTo>
                  <a:cubicBezTo>
                    <a:pt x="1644" y="1110"/>
                    <a:pt x="1647" y="1127"/>
                    <a:pt x="1655" y="1141"/>
                  </a:cubicBezTo>
                  <a:cubicBezTo>
                    <a:pt x="1669" y="1168"/>
                    <a:pt x="1691" y="1183"/>
                    <a:pt x="1722" y="1186"/>
                  </a:cubicBezTo>
                  <a:cubicBezTo>
                    <a:pt x="1750" y="1188"/>
                    <a:pt x="1775" y="1183"/>
                    <a:pt x="1798" y="1165"/>
                  </a:cubicBezTo>
                  <a:cubicBezTo>
                    <a:pt x="1803" y="1161"/>
                    <a:pt x="1806" y="1157"/>
                    <a:pt x="1802" y="1151"/>
                  </a:cubicBezTo>
                  <a:cubicBezTo>
                    <a:pt x="1798" y="1144"/>
                    <a:pt x="1791" y="1140"/>
                    <a:pt x="1783" y="1144"/>
                  </a:cubicBezTo>
                  <a:cubicBezTo>
                    <a:pt x="1778" y="1147"/>
                    <a:pt x="1771" y="1149"/>
                    <a:pt x="1766" y="1152"/>
                  </a:cubicBezTo>
                  <a:cubicBezTo>
                    <a:pt x="1749" y="1161"/>
                    <a:pt x="1730" y="1162"/>
                    <a:pt x="1714" y="1155"/>
                  </a:cubicBezTo>
                  <a:cubicBezTo>
                    <a:pt x="1692" y="1145"/>
                    <a:pt x="1680" y="1127"/>
                    <a:pt x="1679" y="1102"/>
                  </a:cubicBezTo>
                  <a:cubicBezTo>
                    <a:pt x="1678" y="1095"/>
                    <a:pt x="1681" y="1092"/>
                    <a:pt x="1689" y="1092"/>
                  </a:cubicBezTo>
                  <a:cubicBezTo>
                    <a:pt x="1706" y="1092"/>
                    <a:pt x="1724" y="1092"/>
                    <a:pt x="1741" y="1092"/>
                  </a:cubicBezTo>
                  <a:cubicBezTo>
                    <a:pt x="1741" y="1092"/>
                    <a:pt x="1741" y="1092"/>
                    <a:pt x="1741" y="1092"/>
                  </a:cubicBezTo>
                  <a:close/>
                  <a:moveTo>
                    <a:pt x="1690" y="1070"/>
                  </a:moveTo>
                  <a:cubicBezTo>
                    <a:pt x="1683" y="1071"/>
                    <a:pt x="1680" y="1068"/>
                    <a:pt x="1681" y="1062"/>
                  </a:cubicBezTo>
                  <a:cubicBezTo>
                    <a:pt x="1683" y="1048"/>
                    <a:pt x="1697" y="1024"/>
                    <a:pt x="1716" y="1022"/>
                  </a:cubicBezTo>
                  <a:cubicBezTo>
                    <a:pt x="1731" y="1020"/>
                    <a:pt x="1747" y="1018"/>
                    <a:pt x="1760" y="1030"/>
                  </a:cubicBezTo>
                  <a:cubicBezTo>
                    <a:pt x="1771" y="1038"/>
                    <a:pt x="1775" y="1050"/>
                    <a:pt x="1778" y="1062"/>
                  </a:cubicBezTo>
                  <a:cubicBezTo>
                    <a:pt x="1780" y="1068"/>
                    <a:pt x="1775" y="1070"/>
                    <a:pt x="1769" y="1070"/>
                  </a:cubicBezTo>
                  <a:cubicBezTo>
                    <a:pt x="1756" y="1070"/>
                    <a:pt x="1742" y="1070"/>
                    <a:pt x="1729" y="1070"/>
                  </a:cubicBezTo>
                  <a:cubicBezTo>
                    <a:pt x="1729" y="1070"/>
                    <a:pt x="1729" y="1070"/>
                    <a:pt x="1729" y="1070"/>
                  </a:cubicBezTo>
                  <a:cubicBezTo>
                    <a:pt x="1716" y="1070"/>
                    <a:pt x="1703" y="1070"/>
                    <a:pt x="1690" y="1070"/>
                  </a:cubicBezTo>
                  <a:close/>
                  <a:moveTo>
                    <a:pt x="68" y="581"/>
                  </a:moveTo>
                  <a:cubicBezTo>
                    <a:pt x="68" y="573"/>
                    <a:pt x="70" y="568"/>
                    <a:pt x="80" y="569"/>
                  </a:cubicBezTo>
                  <a:cubicBezTo>
                    <a:pt x="90" y="570"/>
                    <a:pt x="101" y="570"/>
                    <a:pt x="111" y="569"/>
                  </a:cubicBezTo>
                  <a:cubicBezTo>
                    <a:pt x="120" y="569"/>
                    <a:pt x="120" y="563"/>
                    <a:pt x="120" y="556"/>
                  </a:cubicBezTo>
                  <a:cubicBezTo>
                    <a:pt x="120" y="549"/>
                    <a:pt x="119" y="544"/>
                    <a:pt x="111" y="544"/>
                  </a:cubicBezTo>
                  <a:cubicBezTo>
                    <a:pt x="104" y="544"/>
                    <a:pt x="97" y="544"/>
                    <a:pt x="91" y="544"/>
                  </a:cubicBezTo>
                  <a:cubicBezTo>
                    <a:pt x="66" y="544"/>
                    <a:pt x="65" y="543"/>
                    <a:pt x="68" y="518"/>
                  </a:cubicBezTo>
                  <a:cubicBezTo>
                    <a:pt x="69" y="504"/>
                    <a:pt x="83" y="487"/>
                    <a:pt x="99" y="489"/>
                  </a:cubicBezTo>
                  <a:cubicBezTo>
                    <a:pt x="103" y="489"/>
                    <a:pt x="107" y="489"/>
                    <a:pt x="110" y="488"/>
                  </a:cubicBezTo>
                  <a:cubicBezTo>
                    <a:pt x="118" y="487"/>
                    <a:pt x="123" y="479"/>
                    <a:pt x="123" y="471"/>
                  </a:cubicBezTo>
                  <a:cubicBezTo>
                    <a:pt x="123" y="461"/>
                    <a:pt x="116" y="462"/>
                    <a:pt x="109" y="460"/>
                  </a:cubicBezTo>
                  <a:cubicBezTo>
                    <a:pt x="100" y="458"/>
                    <a:pt x="92" y="460"/>
                    <a:pt x="84" y="460"/>
                  </a:cubicBezTo>
                  <a:cubicBezTo>
                    <a:pt x="68" y="461"/>
                    <a:pt x="56" y="469"/>
                    <a:pt x="47" y="480"/>
                  </a:cubicBezTo>
                  <a:cubicBezTo>
                    <a:pt x="34" y="493"/>
                    <a:pt x="32" y="511"/>
                    <a:pt x="32" y="529"/>
                  </a:cubicBezTo>
                  <a:cubicBezTo>
                    <a:pt x="32" y="544"/>
                    <a:pt x="32" y="544"/>
                    <a:pt x="17" y="544"/>
                  </a:cubicBezTo>
                  <a:cubicBezTo>
                    <a:pt x="4" y="543"/>
                    <a:pt x="0" y="548"/>
                    <a:pt x="4" y="561"/>
                  </a:cubicBezTo>
                  <a:cubicBezTo>
                    <a:pt x="6" y="569"/>
                    <a:pt x="13" y="568"/>
                    <a:pt x="19" y="569"/>
                  </a:cubicBezTo>
                  <a:cubicBezTo>
                    <a:pt x="32" y="571"/>
                    <a:pt x="32" y="571"/>
                    <a:pt x="32" y="584"/>
                  </a:cubicBezTo>
                  <a:cubicBezTo>
                    <a:pt x="32" y="624"/>
                    <a:pt x="32" y="664"/>
                    <a:pt x="32" y="704"/>
                  </a:cubicBezTo>
                  <a:cubicBezTo>
                    <a:pt x="32" y="731"/>
                    <a:pt x="32" y="730"/>
                    <a:pt x="57" y="731"/>
                  </a:cubicBezTo>
                  <a:cubicBezTo>
                    <a:pt x="66" y="731"/>
                    <a:pt x="68" y="727"/>
                    <a:pt x="68" y="720"/>
                  </a:cubicBezTo>
                  <a:cubicBezTo>
                    <a:pt x="68" y="697"/>
                    <a:pt x="68" y="674"/>
                    <a:pt x="68" y="651"/>
                  </a:cubicBezTo>
                  <a:cubicBezTo>
                    <a:pt x="68" y="628"/>
                    <a:pt x="68" y="605"/>
                    <a:pt x="68" y="581"/>
                  </a:cubicBezTo>
                  <a:close/>
                  <a:moveTo>
                    <a:pt x="278" y="1165"/>
                  </a:moveTo>
                  <a:cubicBezTo>
                    <a:pt x="278" y="1183"/>
                    <a:pt x="278" y="1183"/>
                    <a:pt x="296" y="1184"/>
                  </a:cubicBezTo>
                  <a:cubicBezTo>
                    <a:pt x="310" y="1184"/>
                    <a:pt x="310" y="1184"/>
                    <a:pt x="310" y="1169"/>
                  </a:cubicBezTo>
                  <a:cubicBezTo>
                    <a:pt x="310" y="1132"/>
                    <a:pt x="310" y="1095"/>
                    <a:pt x="310" y="1058"/>
                  </a:cubicBezTo>
                  <a:cubicBezTo>
                    <a:pt x="310" y="1052"/>
                    <a:pt x="312" y="1047"/>
                    <a:pt x="316" y="1042"/>
                  </a:cubicBezTo>
                  <a:cubicBezTo>
                    <a:pt x="324" y="1033"/>
                    <a:pt x="334" y="1027"/>
                    <a:pt x="345" y="1024"/>
                  </a:cubicBezTo>
                  <a:cubicBezTo>
                    <a:pt x="357" y="1020"/>
                    <a:pt x="371" y="1018"/>
                    <a:pt x="383" y="1028"/>
                  </a:cubicBezTo>
                  <a:cubicBezTo>
                    <a:pt x="397" y="1039"/>
                    <a:pt x="401" y="1054"/>
                    <a:pt x="401" y="1071"/>
                  </a:cubicBezTo>
                  <a:cubicBezTo>
                    <a:pt x="401" y="1102"/>
                    <a:pt x="401" y="1132"/>
                    <a:pt x="401" y="1163"/>
                  </a:cubicBezTo>
                  <a:cubicBezTo>
                    <a:pt x="401" y="1183"/>
                    <a:pt x="401" y="1182"/>
                    <a:pt x="420" y="1184"/>
                  </a:cubicBezTo>
                  <a:cubicBezTo>
                    <a:pt x="429" y="1185"/>
                    <a:pt x="433" y="1181"/>
                    <a:pt x="433" y="1173"/>
                  </a:cubicBezTo>
                  <a:cubicBezTo>
                    <a:pt x="432" y="1130"/>
                    <a:pt x="435" y="1087"/>
                    <a:pt x="431" y="1044"/>
                  </a:cubicBezTo>
                  <a:cubicBezTo>
                    <a:pt x="427" y="1014"/>
                    <a:pt x="404" y="996"/>
                    <a:pt x="376" y="994"/>
                  </a:cubicBezTo>
                  <a:cubicBezTo>
                    <a:pt x="353" y="992"/>
                    <a:pt x="333" y="1000"/>
                    <a:pt x="317" y="1017"/>
                  </a:cubicBezTo>
                  <a:cubicBezTo>
                    <a:pt x="312" y="1021"/>
                    <a:pt x="311" y="1019"/>
                    <a:pt x="309" y="1015"/>
                  </a:cubicBezTo>
                  <a:cubicBezTo>
                    <a:pt x="309" y="1013"/>
                    <a:pt x="308" y="1011"/>
                    <a:pt x="308" y="1008"/>
                  </a:cubicBezTo>
                  <a:cubicBezTo>
                    <a:pt x="306" y="1001"/>
                    <a:pt x="298" y="997"/>
                    <a:pt x="287" y="998"/>
                  </a:cubicBezTo>
                  <a:cubicBezTo>
                    <a:pt x="279" y="999"/>
                    <a:pt x="278" y="1004"/>
                    <a:pt x="278" y="1011"/>
                  </a:cubicBezTo>
                  <a:cubicBezTo>
                    <a:pt x="278" y="1037"/>
                    <a:pt x="278" y="1064"/>
                    <a:pt x="278" y="1091"/>
                  </a:cubicBezTo>
                  <a:cubicBezTo>
                    <a:pt x="278" y="1115"/>
                    <a:pt x="278" y="1140"/>
                    <a:pt x="278" y="1165"/>
                  </a:cubicBezTo>
                  <a:close/>
                  <a:moveTo>
                    <a:pt x="150" y="705"/>
                  </a:moveTo>
                  <a:cubicBezTo>
                    <a:pt x="150" y="734"/>
                    <a:pt x="145" y="730"/>
                    <a:pt x="176" y="731"/>
                  </a:cubicBezTo>
                  <a:cubicBezTo>
                    <a:pt x="185" y="731"/>
                    <a:pt x="187" y="727"/>
                    <a:pt x="187" y="719"/>
                  </a:cubicBezTo>
                  <a:cubicBezTo>
                    <a:pt x="187" y="685"/>
                    <a:pt x="187" y="651"/>
                    <a:pt x="187" y="618"/>
                  </a:cubicBezTo>
                  <a:cubicBezTo>
                    <a:pt x="187" y="597"/>
                    <a:pt x="204" y="578"/>
                    <a:pt x="225" y="574"/>
                  </a:cubicBezTo>
                  <a:cubicBezTo>
                    <a:pt x="232" y="572"/>
                    <a:pt x="240" y="574"/>
                    <a:pt x="247" y="575"/>
                  </a:cubicBezTo>
                  <a:cubicBezTo>
                    <a:pt x="257" y="576"/>
                    <a:pt x="261" y="572"/>
                    <a:pt x="265" y="564"/>
                  </a:cubicBezTo>
                  <a:cubicBezTo>
                    <a:pt x="269" y="556"/>
                    <a:pt x="267" y="542"/>
                    <a:pt x="261" y="540"/>
                  </a:cubicBezTo>
                  <a:cubicBezTo>
                    <a:pt x="253" y="538"/>
                    <a:pt x="244" y="534"/>
                    <a:pt x="237" y="536"/>
                  </a:cubicBezTo>
                  <a:cubicBezTo>
                    <a:pt x="228" y="537"/>
                    <a:pt x="217" y="537"/>
                    <a:pt x="209" y="544"/>
                  </a:cubicBezTo>
                  <a:cubicBezTo>
                    <a:pt x="204" y="549"/>
                    <a:pt x="198" y="553"/>
                    <a:pt x="194" y="558"/>
                  </a:cubicBezTo>
                  <a:cubicBezTo>
                    <a:pt x="192" y="561"/>
                    <a:pt x="189" y="563"/>
                    <a:pt x="185" y="562"/>
                  </a:cubicBezTo>
                  <a:cubicBezTo>
                    <a:pt x="182" y="561"/>
                    <a:pt x="182" y="558"/>
                    <a:pt x="182" y="556"/>
                  </a:cubicBezTo>
                  <a:cubicBezTo>
                    <a:pt x="180" y="539"/>
                    <a:pt x="179" y="539"/>
                    <a:pt x="162" y="539"/>
                  </a:cubicBezTo>
                  <a:cubicBezTo>
                    <a:pt x="151" y="539"/>
                    <a:pt x="150" y="540"/>
                    <a:pt x="150" y="551"/>
                  </a:cubicBezTo>
                  <a:cubicBezTo>
                    <a:pt x="150" y="579"/>
                    <a:pt x="150" y="607"/>
                    <a:pt x="150" y="635"/>
                  </a:cubicBezTo>
                  <a:cubicBezTo>
                    <a:pt x="150" y="658"/>
                    <a:pt x="149" y="682"/>
                    <a:pt x="150" y="705"/>
                  </a:cubicBezTo>
                  <a:close/>
                  <a:moveTo>
                    <a:pt x="1011" y="1049"/>
                  </a:moveTo>
                  <a:cubicBezTo>
                    <a:pt x="1011" y="1008"/>
                    <a:pt x="1011" y="966"/>
                    <a:pt x="1011" y="924"/>
                  </a:cubicBezTo>
                  <a:cubicBezTo>
                    <a:pt x="1011" y="913"/>
                    <a:pt x="1008" y="910"/>
                    <a:pt x="997" y="910"/>
                  </a:cubicBezTo>
                  <a:cubicBezTo>
                    <a:pt x="995" y="910"/>
                    <a:pt x="992" y="910"/>
                    <a:pt x="990" y="910"/>
                  </a:cubicBezTo>
                  <a:cubicBezTo>
                    <a:pt x="976" y="910"/>
                    <a:pt x="975" y="911"/>
                    <a:pt x="975" y="926"/>
                  </a:cubicBezTo>
                  <a:cubicBezTo>
                    <a:pt x="975" y="1006"/>
                    <a:pt x="975" y="1085"/>
                    <a:pt x="975" y="1165"/>
                  </a:cubicBezTo>
                  <a:cubicBezTo>
                    <a:pt x="975" y="1185"/>
                    <a:pt x="975" y="1185"/>
                    <a:pt x="994" y="1185"/>
                  </a:cubicBezTo>
                  <a:cubicBezTo>
                    <a:pt x="1009" y="1185"/>
                    <a:pt x="1011" y="1184"/>
                    <a:pt x="1011" y="1169"/>
                  </a:cubicBezTo>
                  <a:cubicBezTo>
                    <a:pt x="1011" y="1129"/>
                    <a:pt x="1011" y="1089"/>
                    <a:pt x="1011" y="1049"/>
                  </a:cubicBezTo>
                  <a:cubicBezTo>
                    <a:pt x="1011" y="1049"/>
                    <a:pt x="1011" y="1049"/>
                    <a:pt x="1011" y="1049"/>
                  </a:cubicBezTo>
                  <a:close/>
                  <a:moveTo>
                    <a:pt x="296" y="176"/>
                  </a:moveTo>
                  <a:cubicBezTo>
                    <a:pt x="296" y="201"/>
                    <a:pt x="296" y="226"/>
                    <a:pt x="296" y="251"/>
                  </a:cubicBezTo>
                  <a:cubicBezTo>
                    <a:pt x="295" y="276"/>
                    <a:pt x="296" y="274"/>
                    <a:pt x="318" y="274"/>
                  </a:cubicBezTo>
                  <a:cubicBezTo>
                    <a:pt x="330" y="274"/>
                    <a:pt x="331" y="274"/>
                    <a:pt x="331" y="260"/>
                  </a:cubicBezTo>
                  <a:cubicBezTo>
                    <a:pt x="331" y="232"/>
                    <a:pt x="331" y="204"/>
                    <a:pt x="331" y="176"/>
                  </a:cubicBezTo>
                  <a:cubicBezTo>
                    <a:pt x="331" y="165"/>
                    <a:pt x="331" y="155"/>
                    <a:pt x="337" y="145"/>
                  </a:cubicBezTo>
                  <a:cubicBezTo>
                    <a:pt x="349" y="123"/>
                    <a:pt x="359" y="117"/>
                    <a:pt x="377" y="118"/>
                  </a:cubicBezTo>
                  <a:cubicBezTo>
                    <a:pt x="383" y="118"/>
                    <a:pt x="389" y="119"/>
                    <a:pt x="395" y="120"/>
                  </a:cubicBezTo>
                  <a:cubicBezTo>
                    <a:pt x="401" y="120"/>
                    <a:pt x="407" y="118"/>
                    <a:pt x="408" y="112"/>
                  </a:cubicBezTo>
                  <a:cubicBezTo>
                    <a:pt x="409" y="103"/>
                    <a:pt x="415" y="93"/>
                    <a:pt x="407" y="85"/>
                  </a:cubicBezTo>
                  <a:cubicBezTo>
                    <a:pt x="406" y="84"/>
                    <a:pt x="404" y="84"/>
                    <a:pt x="402" y="84"/>
                  </a:cubicBezTo>
                  <a:cubicBezTo>
                    <a:pt x="376" y="78"/>
                    <a:pt x="353" y="82"/>
                    <a:pt x="337" y="106"/>
                  </a:cubicBezTo>
                  <a:cubicBezTo>
                    <a:pt x="336" y="108"/>
                    <a:pt x="335" y="110"/>
                    <a:pt x="333" y="109"/>
                  </a:cubicBezTo>
                  <a:cubicBezTo>
                    <a:pt x="331" y="109"/>
                    <a:pt x="330" y="107"/>
                    <a:pt x="330" y="105"/>
                  </a:cubicBezTo>
                  <a:cubicBezTo>
                    <a:pt x="329" y="101"/>
                    <a:pt x="329" y="97"/>
                    <a:pt x="328" y="94"/>
                  </a:cubicBezTo>
                  <a:cubicBezTo>
                    <a:pt x="325" y="85"/>
                    <a:pt x="318" y="82"/>
                    <a:pt x="303" y="84"/>
                  </a:cubicBezTo>
                  <a:cubicBezTo>
                    <a:pt x="297" y="84"/>
                    <a:pt x="295" y="86"/>
                    <a:pt x="295" y="92"/>
                  </a:cubicBezTo>
                  <a:cubicBezTo>
                    <a:pt x="296" y="120"/>
                    <a:pt x="295" y="148"/>
                    <a:pt x="295" y="176"/>
                  </a:cubicBezTo>
                  <a:cubicBezTo>
                    <a:pt x="296" y="176"/>
                    <a:pt x="296" y="176"/>
                    <a:pt x="296" y="176"/>
                  </a:cubicBezTo>
                  <a:close/>
                  <a:moveTo>
                    <a:pt x="946" y="179"/>
                  </a:moveTo>
                  <a:cubicBezTo>
                    <a:pt x="946" y="197"/>
                    <a:pt x="946" y="215"/>
                    <a:pt x="946" y="234"/>
                  </a:cubicBezTo>
                  <a:cubicBezTo>
                    <a:pt x="946" y="248"/>
                    <a:pt x="951" y="260"/>
                    <a:pt x="963" y="268"/>
                  </a:cubicBezTo>
                  <a:cubicBezTo>
                    <a:pt x="982" y="280"/>
                    <a:pt x="1011" y="277"/>
                    <a:pt x="1029" y="264"/>
                  </a:cubicBezTo>
                  <a:cubicBezTo>
                    <a:pt x="1036" y="259"/>
                    <a:pt x="1036" y="254"/>
                    <a:pt x="1032" y="248"/>
                  </a:cubicBezTo>
                  <a:cubicBezTo>
                    <a:pt x="1026" y="239"/>
                    <a:pt x="1020" y="238"/>
                    <a:pt x="1013" y="242"/>
                  </a:cubicBezTo>
                  <a:cubicBezTo>
                    <a:pt x="996" y="252"/>
                    <a:pt x="978" y="243"/>
                    <a:pt x="978" y="223"/>
                  </a:cubicBezTo>
                  <a:cubicBezTo>
                    <a:pt x="978" y="190"/>
                    <a:pt x="978" y="157"/>
                    <a:pt x="978" y="123"/>
                  </a:cubicBezTo>
                  <a:cubicBezTo>
                    <a:pt x="978" y="116"/>
                    <a:pt x="981" y="113"/>
                    <a:pt x="988" y="113"/>
                  </a:cubicBezTo>
                  <a:cubicBezTo>
                    <a:pt x="999" y="114"/>
                    <a:pt x="1011" y="113"/>
                    <a:pt x="1022" y="113"/>
                  </a:cubicBezTo>
                  <a:cubicBezTo>
                    <a:pt x="1028" y="113"/>
                    <a:pt x="1033" y="112"/>
                    <a:pt x="1033" y="104"/>
                  </a:cubicBezTo>
                  <a:cubicBezTo>
                    <a:pt x="1033" y="96"/>
                    <a:pt x="1032" y="90"/>
                    <a:pt x="1022" y="90"/>
                  </a:cubicBezTo>
                  <a:cubicBezTo>
                    <a:pt x="1011" y="90"/>
                    <a:pt x="1001" y="90"/>
                    <a:pt x="990" y="90"/>
                  </a:cubicBezTo>
                  <a:cubicBezTo>
                    <a:pt x="981" y="91"/>
                    <a:pt x="977" y="88"/>
                    <a:pt x="978" y="78"/>
                  </a:cubicBezTo>
                  <a:cubicBezTo>
                    <a:pt x="978" y="64"/>
                    <a:pt x="978" y="49"/>
                    <a:pt x="978" y="35"/>
                  </a:cubicBezTo>
                  <a:cubicBezTo>
                    <a:pt x="978" y="30"/>
                    <a:pt x="978" y="25"/>
                    <a:pt x="971" y="24"/>
                  </a:cubicBezTo>
                  <a:cubicBezTo>
                    <a:pt x="964" y="24"/>
                    <a:pt x="956" y="24"/>
                    <a:pt x="955" y="32"/>
                  </a:cubicBezTo>
                  <a:cubicBezTo>
                    <a:pt x="952" y="43"/>
                    <a:pt x="949" y="54"/>
                    <a:pt x="949" y="65"/>
                  </a:cubicBezTo>
                  <a:cubicBezTo>
                    <a:pt x="948" y="88"/>
                    <a:pt x="947" y="88"/>
                    <a:pt x="924" y="91"/>
                  </a:cubicBezTo>
                  <a:cubicBezTo>
                    <a:pt x="919" y="92"/>
                    <a:pt x="914" y="92"/>
                    <a:pt x="914" y="99"/>
                  </a:cubicBezTo>
                  <a:cubicBezTo>
                    <a:pt x="915" y="107"/>
                    <a:pt x="917" y="113"/>
                    <a:pt x="926" y="113"/>
                  </a:cubicBezTo>
                  <a:cubicBezTo>
                    <a:pt x="929" y="114"/>
                    <a:pt x="932" y="113"/>
                    <a:pt x="935" y="113"/>
                  </a:cubicBezTo>
                  <a:cubicBezTo>
                    <a:pt x="943" y="113"/>
                    <a:pt x="946" y="116"/>
                    <a:pt x="946" y="124"/>
                  </a:cubicBezTo>
                  <a:cubicBezTo>
                    <a:pt x="946" y="142"/>
                    <a:pt x="946" y="161"/>
                    <a:pt x="946" y="179"/>
                  </a:cubicBezTo>
                  <a:cubicBezTo>
                    <a:pt x="946" y="179"/>
                    <a:pt x="946" y="179"/>
                    <a:pt x="946" y="179"/>
                  </a:cubicBezTo>
                  <a:close/>
                </a:path>
              </a:pathLst>
            </a:custGeom>
            <a:solidFill>
              <a:srgbClr val="4C50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  <p:grpSp>
          <p:nvGrpSpPr>
            <p:cNvPr id="18" name="Group 4">
              <a:extLst>
                <a:ext uri="{FF2B5EF4-FFF2-40B4-BE49-F238E27FC236}">
                  <a16:creationId xmlns:a16="http://schemas.microsoft.com/office/drawing/2014/main" id="{57BD2C4C-DC67-B843-B26C-309622FC75F7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34963" y="296652"/>
              <a:ext cx="538094" cy="540000"/>
              <a:chOff x="2711" y="1027"/>
              <a:chExt cx="2258" cy="2266"/>
            </a:xfrm>
          </p:grpSpPr>
          <p:sp>
            <p:nvSpPr>
              <p:cNvPr id="19" name="AutoShape 3">
                <a:extLst>
                  <a:ext uri="{FF2B5EF4-FFF2-40B4-BE49-F238E27FC236}">
                    <a16:creationId xmlns:a16="http://schemas.microsoft.com/office/drawing/2014/main" id="{FE1DC41B-291E-574C-9F2C-874E70A4075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gray">
              <a:xfrm>
                <a:off x="2711" y="1027"/>
                <a:ext cx="2258" cy="22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0" name="Freeform 5">
                <a:extLst>
                  <a:ext uri="{FF2B5EF4-FFF2-40B4-BE49-F238E27FC236}">
                    <a16:creationId xmlns:a16="http://schemas.microsoft.com/office/drawing/2014/main" id="{D4B633C8-F761-C54B-9BD2-EB59D49A2D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09" y="1029"/>
                <a:ext cx="2260" cy="2262"/>
              </a:xfrm>
              <a:custGeom>
                <a:avLst/>
                <a:gdLst>
                  <a:gd name="T0" fmla="*/ 2260 w 2260"/>
                  <a:gd name="T1" fmla="*/ 0 h 2262"/>
                  <a:gd name="T2" fmla="*/ 1612 w 2260"/>
                  <a:gd name="T3" fmla="*/ 649 h 2262"/>
                  <a:gd name="T4" fmla="*/ 1612 w 2260"/>
                  <a:gd name="T5" fmla="*/ 649 h 2262"/>
                  <a:gd name="T6" fmla="*/ 2035 w 2260"/>
                  <a:gd name="T7" fmla="*/ 0 h 2262"/>
                  <a:gd name="T8" fmla="*/ 0 w 2260"/>
                  <a:gd name="T9" fmla="*/ 0 h 2262"/>
                  <a:gd name="T10" fmla="*/ 0 w 2260"/>
                  <a:gd name="T11" fmla="*/ 2262 h 2262"/>
                  <a:gd name="T12" fmla="*/ 2260 w 2260"/>
                  <a:gd name="T13" fmla="*/ 2262 h 2262"/>
                  <a:gd name="T14" fmla="*/ 2260 w 2260"/>
                  <a:gd name="T15" fmla="*/ 0 h 2262"/>
                  <a:gd name="T16" fmla="*/ 2260 w 2260"/>
                  <a:gd name="T17" fmla="*/ 0 h 2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60" h="2262">
                    <a:moveTo>
                      <a:pt x="2260" y="0"/>
                    </a:moveTo>
                    <a:lnTo>
                      <a:pt x="1612" y="649"/>
                    </a:lnTo>
                    <a:lnTo>
                      <a:pt x="1612" y="649"/>
                    </a:lnTo>
                    <a:lnTo>
                      <a:pt x="2035" y="0"/>
                    </a:lnTo>
                    <a:lnTo>
                      <a:pt x="0" y="0"/>
                    </a:lnTo>
                    <a:lnTo>
                      <a:pt x="0" y="2262"/>
                    </a:lnTo>
                    <a:lnTo>
                      <a:pt x="2260" y="2262"/>
                    </a:lnTo>
                    <a:lnTo>
                      <a:pt x="2260" y="0"/>
                    </a:lnTo>
                    <a:lnTo>
                      <a:pt x="2260" y="0"/>
                    </a:lnTo>
                    <a:close/>
                  </a:path>
                </a:pathLst>
              </a:custGeom>
              <a:solidFill>
                <a:srgbClr val="E55A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1" name="Freeform 6">
                <a:extLst>
                  <a:ext uri="{FF2B5EF4-FFF2-40B4-BE49-F238E27FC236}">
                    <a16:creationId xmlns:a16="http://schemas.microsoft.com/office/drawing/2014/main" id="{B16BAAE4-1A41-C843-9754-490F7A1E127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623" y="1696"/>
                <a:ext cx="1167" cy="922"/>
              </a:xfrm>
              <a:custGeom>
                <a:avLst/>
                <a:gdLst>
                  <a:gd name="T0" fmla="*/ 411 w 580"/>
                  <a:gd name="T1" fmla="*/ 213 h 458"/>
                  <a:gd name="T2" fmla="*/ 570 w 580"/>
                  <a:gd name="T3" fmla="*/ 37 h 458"/>
                  <a:gd name="T4" fmla="*/ 580 w 580"/>
                  <a:gd name="T5" fmla="*/ 20 h 458"/>
                  <a:gd name="T6" fmla="*/ 545 w 580"/>
                  <a:gd name="T7" fmla="*/ 0 h 458"/>
                  <a:gd name="T8" fmla="*/ 519 w 580"/>
                  <a:gd name="T9" fmla="*/ 16 h 458"/>
                  <a:gd name="T10" fmla="*/ 344 w 580"/>
                  <a:gd name="T11" fmla="*/ 210 h 458"/>
                  <a:gd name="T12" fmla="*/ 334 w 580"/>
                  <a:gd name="T13" fmla="*/ 229 h 458"/>
                  <a:gd name="T14" fmla="*/ 344 w 580"/>
                  <a:gd name="T15" fmla="*/ 248 h 458"/>
                  <a:gd name="T16" fmla="*/ 519 w 580"/>
                  <a:gd name="T17" fmla="*/ 442 h 458"/>
                  <a:gd name="T18" fmla="*/ 545 w 580"/>
                  <a:gd name="T19" fmla="*/ 458 h 458"/>
                  <a:gd name="T20" fmla="*/ 580 w 580"/>
                  <a:gd name="T21" fmla="*/ 438 h 458"/>
                  <a:gd name="T22" fmla="*/ 570 w 580"/>
                  <a:gd name="T23" fmla="*/ 421 h 458"/>
                  <a:gd name="T24" fmla="*/ 411 w 580"/>
                  <a:gd name="T25" fmla="*/ 245 h 458"/>
                  <a:gd name="T26" fmla="*/ 399 w 580"/>
                  <a:gd name="T27" fmla="*/ 229 h 458"/>
                  <a:gd name="T28" fmla="*/ 411 w 580"/>
                  <a:gd name="T29" fmla="*/ 213 h 458"/>
                  <a:gd name="T30" fmla="*/ 252 w 580"/>
                  <a:gd name="T31" fmla="*/ 439 h 458"/>
                  <a:gd name="T32" fmla="*/ 281 w 580"/>
                  <a:gd name="T33" fmla="*/ 454 h 458"/>
                  <a:gd name="T34" fmla="*/ 309 w 580"/>
                  <a:gd name="T35" fmla="*/ 439 h 458"/>
                  <a:gd name="T36" fmla="*/ 309 w 580"/>
                  <a:gd name="T37" fmla="*/ 19 h 458"/>
                  <a:gd name="T38" fmla="*/ 281 w 580"/>
                  <a:gd name="T39" fmla="*/ 4 h 458"/>
                  <a:gd name="T40" fmla="*/ 252 w 580"/>
                  <a:gd name="T41" fmla="*/ 19 h 458"/>
                  <a:gd name="T42" fmla="*/ 252 w 580"/>
                  <a:gd name="T43" fmla="*/ 439 h 458"/>
                  <a:gd name="T44" fmla="*/ 0 w 580"/>
                  <a:gd name="T45" fmla="*/ 439 h 458"/>
                  <a:gd name="T46" fmla="*/ 28 w 580"/>
                  <a:gd name="T47" fmla="*/ 454 h 458"/>
                  <a:gd name="T48" fmla="*/ 56 w 580"/>
                  <a:gd name="T49" fmla="*/ 439 h 458"/>
                  <a:gd name="T50" fmla="*/ 56 w 580"/>
                  <a:gd name="T51" fmla="*/ 157 h 458"/>
                  <a:gd name="T52" fmla="*/ 165 w 580"/>
                  <a:gd name="T53" fmla="*/ 53 h 458"/>
                  <a:gd name="T54" fmla="*/ 180 w 580"/>
                  <a:gd name="T55" fmla="*/ 53 h 458"/>
                  <a:gd name="T56" fmla="*/ 196 w 580"/>
                  <a:gd name="T57" fmla="*/ 27 h 458"/>
                  <a:gd name="T58" fmla="*/ 154 w 580"/>
                  <a:gd name="T59" fmla="*/ 4 h 458"/>
                  <a:gd name="T60" fmla="*/ 0 w 580"/>
                  <a:gd name="T61" fmla="*/ 152 h 458"/>
                  <a:gd name="T62" fmla="*/ 0 w 580"/>
                  <a:gd name="T63" fmla="*/ 439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80" h="458">
                    <a:moveTo>
                      <a:pt x="411" y="213"/>
                    </a:moveTo>
                    <a:cubicBezTo>
                      <a:pt x="570" y="37"/>
                      <a:pt x="570" y="37"/>
                      <a:pt x="570" y="37"/>
                    </a:cubicBezTo>
                    <a:cubicBezTo>
                      <a:pt x="576" y="30"/>
                      <a:pt x="580" y="25"/>
                      <a:pt x="580" y="20"/>
                    </a:cubicBezTo>
                    <a:cubicBezTo>
                      <a:pt x="580" y="10"/>
                      <a:pt x="559" y="0"/>
                      <a:pt x="545" y="0"/>
                    </a:cubicBezTo>
                    <a:cubicBezTo>
                      <a:pt x="535" y="0"/>
                      <a:pt x="526" y="8"/>
                      <a:pt x="519" y="16"/>
                    </a:cubicBezTo>
                    <a:cubicBezTo>
                      <a:pt x="344" y="210"/>
                      <a:pt x="344" y="210"/>
                      <a:pt x="344" y="210"/>
                    </a:cubicBezTo>
                    <a:cubicBezTo>
                      <a:pt x="336" y="219"/>
                      <a:pt x="334" y="224"/>
                      <a:pt x="334" y="229"/>
                    </a:cubicBezTo>
                    <a:cubicBezTo>
                      <a:pt x="334" y="234"/>
                      <a:pt x="336" y="239"/>
                      <a:pt x="344" y="248"/>
                    </a:cubicBezTo>
                    <a:cubicBezTo>
                      <a:pt x="519" y="442"/>
                      <a:pt x="519" y="442"/>
                      <a:pt x="519" y="442"/>
                    </a:cubicBezTo>
                    <a:cubicBezTo>
                      <a:pt x="526" y="450"/>
                      <a:pt x="535" y="458"/>
                      <a:pt x="545" y="458"/>
                    </a:cubicBezTo>
                    <a:cubicBezTo>
                      <a:pt x="559" y="458"/>
                      <a:pt x="580" y="448"/>
                      <a:pt x="580" y="438"/>
                    </a:cubicBezTo>
                    <a:cubicBezTo>
                      <a:pt x="580" y="433"/>
                      <a:pt x="576" y="428"/>
                      <a:pt x="570" y="421"/>
                    </a:cubicBezTo>
                    <a:cubicBezTo>
                      <a:pt x="411" y="245"/>
                      <a:pt x="411" y="245"/>
                      <a:pt x="411" y="245"/>
                    </a:cubicBezTo>
                    <a:cubicBezTo>
                      <a:pt x="403" y="236"/>
                      <a:pt x="399" y="232"/>
                      <a:pt x="399" y="229"/>
                    </a:cubicBezTo>
                    <a:cubicBezTo>
                      <a:pt x="399" y="226"/>
                      <a:pt x="403" y="222"/>
                      <a:pt x="411" y="213"/>
                    </a:cubicBezTo>
                    <a:moveTo>
                      <a:pt x="252" y="439"/>
                    </a:moveTo>
                    <a:cubicBezTo>
                      <a:pt x="252" y="449"/>
                      <a:pt x="261" y="454"/>
                      <a:pt x="281" y="454"/>
                    </a:cubicBezTo>
                    <a:cubicBezTo>
                      <a:pt x="300" y="454"/>
                      <a:pt x="309" y="449"/>
                      <a:pt x="309" y="439"/>
                    </a:cubicBezTo>
                    <a:cubicBezTo>
                      <a:pt x="309" y="19"/>
                      <a:pt x="309" y="19"/>
                      <a:pt x="309" y="19"/>
                    </a:cubicBezTo>
                    <a:cubicBezTo>
                      <a:pt x="309" y="9"/>
                      <a:pt x="300" y="4"/>
                      <a:pt x="281" y="4"/>
                    </a:cubicBezTo>
                    <a:cubicBezTo>
                      <a:pt x="261" y="4"/>
                      <a:pt x="252" y="9"/>
                      <a:pt x="252" y="19"/>
                    </a:cubicBezTo>
                    <a:lnTo>
                      <a:pt x="252" y="439"/>
                    </a:lnTo>
                    <a:close/>
                    <a:moveTo>
                      <a:pt x="0" y="439"/>
                    </a:moveTo>
                    <a:cubicBezTo>
                      <a:pt x="0" y="449"/>
                      <a:pt x="8" y="454"/>
                      <a:pt x="28" y="454"/>
                    </a:cubicBezTo>
                    <a:cubicBezTo>
                      <a:pt x="48" y="454"/>
                      <a:pt x="56" y="449"/>
                      <a:pt x="56" y="439"/>
                    </a:cubicBezTo>
                    <a:cubicBezTo>
                      <a:pt x="56" y="157"/>
                      <a:pt x="56" y="157"/>
                      <a:pt x="56" y="157"/>
                    </a:cubicBezTo>
                    <a:cubicBezTo>
                      <a:pt x="56" y="83"/>
                      <a:pt x="85" y="53"/>
                      <a:pt x="165" y="53"/>
                    </a:cubicBezTo>
                    <a:cubicBezTo>
                      <a:pt x="180" y="53"/>
                      <a:pt x="180" y="53"/>
                      <a:pt x="180" y="53"/>
                    </a:cubicBezTo>
                    <a:cubicBezTo>
                      <a:pt x="192" y="53"/>
                      <a:pt x="196" y="43"/>
                      <a:pt x="196" y="27"/>
                    </a:cubicBezTo>
                    <a:cubicBezTo>
                      <a:pt x="196" y="8"/>
                      <a:pt x="185" y="4"/>
                      <a:pt x="154" y="4"/>
                    </a:cubicBezTo>
                    <a:cubicBezTo>
                      <a:pt x="64" y="4"/>
                      <a:pt x="0" y="43"/>
                      <a:pt x="0" y="152"/>
                    </a:cubicBezTo>
                    <a:lnTo>
                      <a:pt x="0" y="4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2" name="Freeform 7">
                <a:extLst>
                  <a:ext uri="{FF2B5EF4-FFF2-40B4-BE49-F238E27FC236}">
                    <a16:creationId xmlns:a16="http://schemas.microsoft.com/office/drawing/2014/main" id="{2F32DCBD-8628-F245-85CD-97686A20ECF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80" y="1704"/>
                <a:ext cx="618" cy="916"/>
              </a:xfrm>
              <a:custGeom>
                <a:avLst/>
                <a:gdLst>
                  <a:gd name="T0" fmla="*/ 307 w 307"/>
                  <a:gd name="T1" fmla="*/ 405 h 455"/>
                  <a:gd name="T2" fmla="*/ 307 w 307"/>
                  <a:gd name="T3" fmla="*/ 244 h 455"/>
                  <a:gd name="T4" fmla="*/ 279 w 307"/>
                  <a:gd name="T5" fmla="*/ 229 h 455"/>
                  <a:gd name="T6" fmla="*/ 250 w 307"/>
                  <a:gd name="T7" fmla="*/ 244 h 455"/>
                  <a:gd name="T8" fmla="*/ 250 w 307"/>
                  <a:gd name="T9" fmla="*/ 378 h 455"/>
                  <a:gd name="T10" fmla="*/ 199 w 307"/>
                  <a:gd name="T11" fmla="*/ 408 h 455"/>
                  <a:gd name="T12" fmla="*/ 61 w 307"/>
                  <a:gd name="T13" fmla="*/ 231 h 455"/>
                  <a:gd name="T14" fmla="*/ 238 w 307"/>
                  <a:gd name="T15" fmla="*/ 49 h 455"/>
                  <a:gd name="T16" fmla="*/ 270 w 307"/>
                  <a:gd name="T17" fmla="*/ 49 h 455"/>
                  <a:gd name="T18" fmla="*/ 286 w 307"/>
                  <a:gd name="T19" fmla="*/ 23 h 455"/>
                  <a:gd name="T20" fmla="*/ 244 w 307"/>
                  <a:gd name="T21" fmla="*/ 0 h 455"/>
                  <a:gd name="T22" fmla="*/ 231 w 307"/>
                  <a:gd name="T23" fmla="*/ 0 h 455"/>
                  <a:gd name="T24" fmla="*/ 0 w 307"/>
                  <a:gd name="T25" fmla="*/ 232 h 455"/>
                  <a:gd name="T26" fmla="*/ 198 w 307"/>
                  <a:gd name="T27" fmla="*/ 455 h 455"/>
                  <a:gd name="T28" fmla="*/ 307 w 307"/>
                  <a:gd name="T29" fmla="*/ 40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7" h="455">
                    <a:moveTo>
                      <a:pt x="307" y="405"/>
                    </a:moveTo>
                    <a:cubicBezTo>
                      <a:pt x="307" y="244"/>
                      <a:pt x="307" y="244"/>
                      <a:pt x="307" y="244"/>
                    </a:cubicBezTo>
                    <a:cubicBezTo>
                      <a:pt x="307" y="234"/>
                      <a:pt x="298" y="229"/>
                      <a:pt x="279" y="229"/>
                    </a:cubicBezTo>
                    <a:cubicBezTo>
                      <a:pt x="259" y="229"/>
                      <a:pt x="250" y="234"/>
                      <a:pt x="250" y="244"/>
                    </a:cubicBezTo>
                    <a:cubicBezTo>
                      <a:pt x="250" y="378"/>
                      <a:pt x="250" y="378"/>
                      <a:pt x="250" y="378"/>
                    </a:cubicBezTo>
                    <a:cubicBezTo>
                      <a:pt x="250" y="399"/>
                      <a:pt x="241" y="408"/>
                      <a:pt x="199" y="408"/>
                    </a:cubicBezTo>
                    <a:cubicBezTo>
                      <a:pt x="114" y="408"/>
                      <a:pt x="61" y="342"/>
                      <a:pt x="61" y="231"/>
                    </a:cubicBezTo>
                    <a:cubicBezTo>
                      <a:pt x="61" y="115"/>
                      <a:pt x="126" y="49"/>
                      <a:pt x="238" y="49"/>
                    </a:cubicBezTo>
                    <a:cubicBezTo>
                      <a:pt x="270" y="49"/>
                      <a:pt x="270" y="49"/>
                      <a:pt x="270" y="49"/>
                    </a:cubicBezTo>
                    <a:cubicBezTo>
                      <a:pt x="282" y="49"/>
                      <a:pt x="286" y="39"/>
                      <a:pt x="286" y="23"/>
                    </a:cubicBezTo>
                    <a:cubicBezTo>
                      <a:pt x="286" y="4"/>
                      <a:pt x="275" y="0"/>
                      <a:pt x="244" y="0"/>
                    </a:cubicBezTo>
                    <a:cubicBezTo>
                      <a:pt x="231" y="0"/>
                      <a:pt x="231" y="0"/>
                      <a:pt x="231" y="0"/>
                    </a:cubicBezTo>
                    <a:cubicBezTo>
                      <a:pt x="101" y="0"/>
                      <a:pt x="0" y="71"/>
                      <a:pt x="0" y="232"/>
                    </a:cubicBezTo>
                    <a:cubicBezTo>
                      <a:pt x="0" y="386"/>
                      <a:pt x="88" y="455"/>
                      <a:pt x="198" y="455"/>
                    </a:cubicBezTo>
                    <a:cubicBezTo>
                      <a:pt x="286" y="455"/>
                      <a:pt x="307" y="430"/>
                      <a:pt x="307" y="40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3" name="Oval 8">
                <a:extLst>
                  <a:ext uri="{FF2B5EF4-FFF2-40B4-BE49-F238E27FC236}">
                    <a16:creationId xmlns:a16="http://schemas.microsoft.com/office/drawing/2014/main" id="{60D97C11-1A3B-5449-A48D-98A3E79B381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778" y="2099"/>
                <a:ext cx="122" cy="12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4" name="Freeform 9">
                <a:extLst>
                  <a:ext uri="{FF2B5EF4-FFF2-40B4-BE49-F238E27FC236}">
                    <a16:creationId xmlns:a16="http://schemas.microsoft.com/office/drawing/2014/main" id="{5856770D-B8F0-244E-A05D-AED190086F1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623" y="1696"/>
                <a:ext cx="1167" cy="922"/>
              </a:xfrm>
              <a:custGeom>
                <a:avLst/>
                <a:gdLst>
                  <a:gd name="T0" fmla="*/ 411 w 580"/>
                  <a:gd name="T1" fmla="*/ 213 h 458"/>
                  <a:gd name="T2" fmla="*/ 570 w 580"/>
                  <a:gd name="T3" fmla="*/ 37 h 458"/>
                  <a:gd name="T4" fmla="*/ 580 w 580"/>
                  <a:gd name="T5" fmla="*/ 20 h 458"/>
                  <a:gd name="T6" fmla="*/ 545 w 580"/>
                  <a:gd name="T7" fmla="*/ 0 h 458"/>
                  <a:gd name="T8" fmla="*/ 519 w 580"/>
                  <a:gd name="T9" fmla="*/ 16 h 458"/>
                  <a:gd name="T10" fmla="*/ 344 w 580"/>
                  <a:gd name="T11" fmla="*/ 210 h 458"/>
                  <a:gd name="T12" fmla="*/ 334 w 580"/>
                  <a:gd name="T13" fmla="*/ 229 h 458"/>
                  <a:gd name="T14" fmla="*/ 344 w 580"/>
                  <a:gd name="T15" fmla="*/ 248 h 458"/>
                  <a:gd name="T16" fmla="*/ 519 w 580"/>
                  <a:gd name="T17" fmla="*/ 442 h 458"/>
                  <a:gd name="T18" fmla="*/ 545 w 580"/>
                  <a:gd name="T19" fmla="*/ 458 h 458"/>
                  <a:gd name="T20" fmla="*/ 580 w 580"/>
                  <a:gd name="T21" fmla="*/ 438 h 458"/>
                  <a:gd name="T22" fmla="*/ 570 w 580"/>
                  <a:gd name="T23" fmla="*/ 421 h 458"/>
                  <a:gd name="T24" fmla="*/ 411 w 580"/>
                  <a:gd name="T25" fmla="*/ 245 h 458"/>
                  <a:gd name="T26" fmla="*/ 399 w 580"/>
                  <a:gd name="T27" fmla="*/ 229 h 458"/>
                  <a:gd name="T28" fmla="*/ 411 w 580"/>
                  <a:gd name="T29" fmla="*/ 213 h 458"/>
                  <a:gd name="T30" fmla="*/ 252 w 580"/>
                  <a:gd name="T31" fmla="*/ 439 h 458"/>
                  <a:gd name="T32" fmla="*/ 281 w 580"/>
                  <a:gd name="T33" fmla="*/ 454 h 458"/>
                  <a:gd name="T34" fmla="*/ 309 w 580"/>
                  <a:gd name="T35" fmla="*/ 439 h 458"/>
                  <a:gd name="T36" fmla="*/ 309 w 580"/>
                  <a:gd name="T37" fmla="*/ 19 h 458"/>
                  <a:gd name="T38" fmla="*/ 281 w 580"/>
                  <a:gd name="T39" fmla="*/ 4 h 458"/>
                  <a:gd name="T40" fmla="*/ 252 w 580"/>
                  <a:gd name="T41" fmla="*/ 19 h 458"/>
                  <a:gd name="T42" fmla="*/ 252 w 580"/>
                  <a:gd name="T43" fmla="*/ 439 h 458"/>
                  <a:gd name="T44" fmla="*/ 0 w 580"/>
                  <a:gd name="T45" fmla="*/ 439 h 458"/>
                  <a:gd name="T46" fmla="*/ 28 w 580"/>
                  <a:gd name="T47" fmla="*/ 454 h 458"/>
                  <a:gd name="T48" fmla="*/ 56 w 580"/>
                  <a:gd name="T49" fmla="*/ 439 h 458"/>
                  <a:gd name="T50" fmla="*/ 56 w 580"/>
                  <a:gd name="T51" fmla="*/ 157 h 458"/>
                  <a:gd name="T52" fmla="*/ 165 w 580"/>
                  <a:gd name="T53" fmla="*/ 53 h 458"/>
                  <a:gd name="T54" fmla="*/ 180 w 580"/>
                  <a:gd name="T55" fmla="*/ 53 h 458"/>
                  <a:gd name="T56" fmla="*/ 196 w 580"/>
                  <a:gd name="T57" fmla="*/ 27 h 458"/>
                  <a:gd name="T58" fmla="*/ 154 w 580"/>
                  <a:gd name="T59" fmla="*/ 4 h 458"/>
                  <a:gd name="T60" fmla="*/ 0 w 580"/>
                  <a:gd name="T61" fmla="*/ 152 h 458"/>
                  <a:gd name="T62" fmla="*/ 0 w 580"/>
                  <a:gd name="T63" fmla="*/ 439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80" h="458">
                    <a:moveTo>
                      <a:pt x="411" y="213"/>
                    </a:moveTo>
                    <a:cubicBezTo>
                      <a:pt x="570" y="37"/>
                      <a:pt x="570" y="37"/>
                      <a:pt x="570" y="37"/>
                    </a:cubicBezTo>
                    <a:cubicBezTo>
                      <a:pt x="576" y="30"/>
                      <a:pt x="580" y="25"/>
                      <a:pt x="580" y="20"/>
                    </a:cubicBezTo>
                    <a:cubicBezTo>
                      <a:pt x="580" y="10"/>
                      <a:pt x="559" y="0"/>
                      <a:pt x="545" y="0"/>
                    </a:cubicBezTo>
                    <a:cubicBezTo>
                      <a:pt x="535" y="0"/>
                      <a:pt x="526" y="8"/>
                      <a:pt x="519" y="16"/>
                    </a:cubicBezTo>
                    <a:cubicBezTo>
                      <a:pt x="344" y="210"/>
                      <a:pt x="344" y="210"/>
                      <a:pt x="344" y="210"/>
                    </a:cubicBezTo>
                    <a:cubicBezTo>
                      <a:pt x="336" y="219"/>
                      <a:pt x="334" y="224"/>
                      <a:pt x="334" y="229"/>
                    </a:cubicBezTo>
                    <a:cubicBezTo>
                      <a:pt x="334" y="234"/>
                      <a:pt x="336" y="239"/>
                      <a:pt x="344" y="248"/>
                    </a:cubicBezTo>
                    <a:cubicBezTo>
                      <a:pt x="519" y="442"/>
                      <a:pt x="519" y="442"/>
                      <a:pt x="519" y="442"/>
                    </a:cubicBezTo>
                    <a:cubicBezTo>
                      <a:pt x="526" y="450"/>
                      <a:pt x="535" y="458"/>
                      <a:pt x="545" y="458"/>
                    </a:cubicBezTo>
                    <a:cubicBezTo>
                      <a:pt x="559" y="458"/>
                      <a:pt x="580" y="448"/>
                      <a:pt x="580" y="438"/>
                    </a:cubicBezTo>
                    <a:cubicBezTo>
                      <a:pt x="580" y="433"/>
                      <a:pt x="576" y="428"/>
                      <a:pt x="570" y="421"/>
                    </a:cubicBezTo>
                    <a:cubicBezTo>
                      <a:pt x="411" y="245"/>
                      <a:pt x="411" y="245"/>
                      <a:pt x="411" y="245"/>
                    </a:cubicBezTo>
                    <a:cubicBezTo>
                      <a:pt x="403" y="236"/>
                      <a:pt x="399" y="232"/>
                      <a:pt x="399" y="229"/>
                    </a:cubicBezTo>
                    <a:cubicBezTo>
                      <a:pt x="399" y="226"/>
                      <a:pt x="403" y="222"/>
                      <a:pt x="411" y="213"/>
                    </a:cubicBezTo>
                    <a:moveTo>
                      <a:pt x="252" y="439"/>
                    </a:moveTo>
                    <a:cubicBezTo>
                      <a:pt x="252" y="449"/>
                      <a:pt x="261" y="454"/>
                      <a:pt x="281" y="454"/>
                    </a:cubicBezTo>
                    <a:cubicBezTo>
                      <a:pt x="300" y="454"/>
                      <a:pt x="309" y="449"/>
                      <a:pt x="309" y="439"/>
                    </a:cubicBezTo>
                    <a:cubicBezTo>
                      <a:pt x="309" y="19"/>
                      <a:pt x="309" y="19"/>
                      <a:pt x="309" y="19"/>
                    </a:cubicBezTo>
                    <a:cubicBezTo>
                      <a:pt x="309" y="9"/>
                      <a:pt x="300" y="4"/>
                      <a:pt x="281" y="4"/>
                    </a:cubicBezTo>
                    <a:cubicBezTo>
                      <a:pt x="261" y="4"/>
                      <a:pt x="252" y="9"/>
                      <a:pt x="252" y="19"/>
                    </a:cubicBezTo>
                    <a:lnTo>
                      <a:pt x="252" y="439"/>
                    </a:lnTo>
                    <a:close/>
                    <a:moveTo>
                      <a:pt x="0" y="439"/>
                    </a:moveTo>
                    <a:cubicBezTo>
                      <a:pt x="0" y="449"/>
                      <a:pt x="8" y="454"/>
                      <a:pt x="28" y="454"/>
                    </a:cubicBezTo>
                    <a:cubicBezTo>
                      <a:pt x="48" y="454"/>
                      <a:pt x="56" y="449"/>
                      <a:pt x="56" y="439"/>
                    </a:cubicBezTo>
                    <a:cubicBezTo>
                      <a:pt x="56" y="157"/>
                      <a:pt x="56" y="157"/>
                      <a:pt x="56" y="157"/>
                    </a:cubicBezTo>
                    <a:cubicBezTo>
                      <a:pt x="56" y="83"/>
                      <a:pt x="85" y="53"/>
                      <a:pt x="165" y="53"/>
                    </a:cubicBezTo>
                    <a:cubicBezTo>
                      <a:pt x="180" y="53"/>
                      <a:pt x="180" y="53"/>
                      <a:pt x="180" y="53"/>
                    </a:cubicBezTo>
                    <a:cubicBezTo>
                      <a:pt x="192" y="53"/>
                      <a:pt x="196" y="43"/>
                      <a:pt x="196" y="27"/>
                    </a:cubicBezTo>
                    <a:cubicBezTo>
                      <a:pt x="196" y="8"/>
                      <a:pt x="185" y="4"/>
                      <a:pt x="154" y="4"/>
                    </a:cubicBezTo>
                    <a:cubicBezTo>
                      <a:pt x="64" y="4"/>
                      <a:pt x="0" y="43"/>
                      <a:pt x="0" y="152"/>
                    </a:cubicBezTo>
                    <a:lnTo>
                      <a:pt x="0" y="4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5" name="Freeform 10">
                <a:extLst>
                  <a:ext uri="{FF2B5EF4-FFF2-40B4-BE49-F238E27FC236}">
                    <a16:creationId xmlns:a16="http://schemas.microsoft.com/office/drawing/2014/main" id="{2B91B16B-BC11-E547-8FAC-B9B8D18EA4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80" y="1704"/>
                <a:ext cx="618" cy="916"/>
              </a:xfrm>
              <a:custGeom>
                <a:avLst/>
                <a:gdLst>
                  <a:gd name="T0" fmla="*/ 307 w 307"/>
                  <a:gd name="T1" fmla="*/ 405 h 455"/>
                  <a:gd name="T2" fmla="*/ 307 w 307"/>
                  <a:gd name="T3" fmla="*/ 244 h 455"/>
                  <a:gd name="T4" fmla="*/ 279 w 307"/>
                  <a:gd name="T5" fmla="*/ 229 h 455"/>
                  <a:gd name="T6" fmla="*/ 250 w 307"/>
                  <a:gd name="T7" fmla="*/ 244 h 455"/>
                  <a:gd name="T8" fmla="*/ 250 w 307"/>
                  <a:gd name="T9" fmla="*/ 378 h 455"/>
                  <a:gd name="T10" fmla="*/ 199 w 307"/>
                  <a:gd name="T11" fmla="*/ 408 h 455"/>
                  <a:gd name="T12" fmla="*/ 61 w 307"/>
                  <a:gd name="T13" fmla="*/ 231 h 455"/>
                  <a:gd name="T14" fmla="*/ 238 w 307"/>
                  <a:gd name="T15" fmla="*/ 49 h 455"/>
                  <a:gd name="T16" fmla="*/ 270 w 307"/>
                  <a:gd name="T17" fmla="*/ 49 h 455"/>
                  <a:gd name="T18" fmla="*/ 286 w 307"/>
                  <a:gd name="T19" fmla="*/ 23 h 455"/>
                  <a:gd name="T20" fmla="*/ 244 w 307"/>
                  <a:gd name="T21" fmla="*/ 0 h 455"/>
                  <a:gd name="T22" fmla="*/ 231 w 307"/>
                  <a:gd name="T23" fmla="*/ 0 h 455"/>
                  <a:gd name="T24" fmla="*/ 0 w 307"/>
                  <a:gd name="T25" fmla="*/ 232 h 455"/>
                  <a:gd name="T26" fmla="*/ 198 w 307"/>
                  <a:gd name="T27" fmla="*/ 455 h 455"/>
                  <a:gd name="T28" fmla="*/ 307 w 307"/>
                  <a:gd name="T29" fmla="*/ 40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7" h="455">
                    <a:moveTo>
                      <a:pt x="307" y="405"/>
                    </a:moveTo>
                    <a:cubicBezTo>
                      <a:pt x="307" y="244"/>
                      <a:pt x="307" y="244"/>
                      <a:pt x="307" y="244"/>
                    </a:cubicBezTo>
                    <a:cubicBezTo>
                      <a:pt x="307" y="234"/>
                      <a:pt x="298" y="229"/>
                      <a:pt x="279" y="229"/>
                    </a:cubicBezTo>
                    <a:cubicBezTo>
                      <a:pt x="259" y="229"/>
                      <a:pt x="250" y="234"/>
                      <a:pt x="250" y="244"/>
                    </a:cubicBezTo>
                    <a:cubicBezTo>
                      <a:pt x="250" y="378"/>
                      <a:pt x="250" y="378"/>
                      <a:pt x="250" y="378"/>
                    </a:cubicBezTo>
                    <a:cubicBezTo>
                      <a:pt x="250" y="399"/>
                      <a:pt x="241" y="408"/>
                      <a:pt x="199" y="408"/>
                    </a:cubicBezTo>
                    <a:cubicBezTo>
                      <a:pt x="114" y="408"/>
                      <a:pt x="61" y="342"/>
                      <a:pt x="61" y="231"/>
                    </a:cubicBezTo>
                    <a:cubicBezTo>
                      <a:pt x="61" y="115"/>
                      <a:pt x="126" y="49"/>
                      <a:pt x="238" y="49"/>
                    </a:cubicBezTo>
                    <a:cubicBezTo>
                      <a:pt x="270" y="49"/>
                      <a:pt x="270" y="49"/>
                      <a:pt x="270" y="49"/>
                    </a:cubicBezTo>
                    <a:cubicBezTo>
                      <a:pt x="282" y="49"/>
                      <a:pt x="286" y="39"/>
                      <a:pt x="286" y="23"/>
                    </a:cubicBezTo>
                    <a:cubicBezTo>
                      <a:pt x="286" y="4"/>
                      <a:pt x="275" y="0"/>
                      <a:pt x="244" y="0"/>
                    </a:cubicBezTo>
                    <a:cubicBezTo>
                      <a:pt x="231" y="0"/>
                      <a:pt x="231" y="0"/>
                      <a:pt x="231" y="0"/>
                    </a:cubicBezTo>
                    <a:cubicBezTo>
                      <a:pt x="101" y="0"/>
                      <a:pt x="0" y="71"/>
                      <a:pt x="0" y="232"/>
                    </a:cubicBezTo>
                    <a:cubicBezTo>
                      <a:pt x="0" y="386"/>
                      <a:pt x="88" y="455"/>
                      <a:pt x="198" y="455"/>
                    </a:cubicBezTo>
                    <a:cubicBezTo>
                      <a:pt x="286" y="455"/>
                      <a:pt x="307" y="430"/>
                      <a:pt x="307" y="40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6" name="Oval 11">
                <a:extLst>
                  <a:ext uri="{FF2B5EF4-FFF2-40B4-BE49-F238E27FC236}">
                    <a16:creationId xmlns:a16="http://schemas.microsoft.com/office/drawing/2014/main" id="{14F8C3C8-4888-7646-B9B4-64EB46A1DA2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778" y="2099"/>
                <a:ext cx="122" cy="12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7" name="Freeform 12">
                <a:extLst>
                  <a:ext uri="{FF2B5EF4-FFF2-40B4-BE49-F238E27FC236}">
                    <a16:creationId xmlns:a16="http://schemas.microsoft.com/office/drawing/2014/main" id="{D79D01D1-4E3E-F34B-97D7-2D387E6874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21" y="1029"/>
                <a:ext cx="648" cy="649"/>
              </a:xfrm>
              <a:custGeom>
                <a:avLst/>
                <a:gdLst>
                  <a:gd name="T0" fmla="*/ 0 w 648"/>
                  <a:gd name="T1" fmla="*/ 649 h 649"/>
                  <a:gd name="T2" fmla="*/ 2 w 648"/>
                  <a:gd name="T3" fmla="*/ 649 h 649"/>
                  <a:gd name="T4" fmla="*/ 648 w 648"/>
                  <a:gd name="T5" fmla="*/ 0 h 649"/>
                  <a:gd name="T6" fmla="*/ 423 w 648"/>
                  <a:gd name="T7" fmla="*/ 0 h 649"/>
                  <a:gd name="T8" fmla="*/ 0 w 648"/>
                  <a:gd name="T9" fmla="*/ 649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8" h="649">
                    <a:moveTo>
                      <a:pt x="0" y="649"/>
                    </a:moveTo>
                    <a:lnTo>
                      <a:pt x="2" y="649"/>
                    </a:lnTo>
                    <a:lnTo>
                      <a:pt x="648" y="0"/>
                    </a:lnTo>
                    <a:lnTo>
                      <a:pt x="423" y="0"/>
                    </a:lnTo>
                    <a:lnTo>
                      <a:pt x="0" y="64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  <p:sp>
            <p:nvSpPr>
              <p:cNvPr id="28" name="Freeform 13">
                <a:extLst>
                  <a:ext uri="{FF2B5EF4-FFF2-40B4-BE49-F238E27FC236}">
                    <a16:creationId xmlns:a16="http://schemas.microsoft.com/office/drawing/2014/main" id="{46549898-6C52-B147-A8F6-A73FDBE6163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21" y="1029"/>
                <a:ext cx="648" cy="649"/>
              </a:xfrm>
              <a:custGeom>
                <a:avLst/>
                <a:gdLst>
                  <a:gd name="T0" fmla="*/ 0 w 648"/>
                  <a:gd name="T1" fmla="*/ 649 h 649"/>
                  <a:gd name="T2" fmla="*/ 2 w 648"/>
                  <a:gd name="T3" fmla="*/ 649 h 649"/>
                  <a:gd name="T4" fmla="*/ 648 w 648"/>
                  <a:gd name="T5" fmla="*/ 0 h 649"/>
                  <a:gd name="T6" fmla="*/ 423 w 648"/>
                  <a:gd name="T7" fmla="*/ 0 h 649"/>
                  <a:gd name="T8" fmla="*/ 0 w 648"/>
                  <a:gd name="T9" fmla="*/ 649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8" h="649">
                    <a:moveTo>
                      <a:pt x="0" y="649"/>
                    </a:moveTo>
                    <a:lnTo>
                      <a:pt x="2" y="649"/>
                    </a:lnTo>
                    <a:lnTo>
                      <a:pt x="648" y="0"/>
                    </a:lnTo>
                    <a:lnTo>
                      <a:pt x="423" y="0"/>
                    </a:lnTo>
                    <a:lnTo>
                      <a:pt x="0" y="649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351" dirty="0"/>
              </a:p>
            </p:txBody>
          </p:sp>
        </p:grpSp>
      </p:grp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6D08F88-38D2-4786-82D6-89211B05083D}" type="datetime5">
              <a:rPr lang="en-US" smtClean="0"/>
              <a:t>18-Nov-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E3B25F7-8D1F-44B5-B485-EE3C438CFD7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7600" y="1628775"/>
            <a:ext cx="3816000" cy="2236264"/>
          </a:xfrm>
        </p:spPr>
        <p:txBody>
          <a:bodyPr anchor="b"/>
          <a:lstStyle>
            <a:lvl1pPr algn="l">
              <a:defRPr sz="3600"/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7600" y="4094163"/>
            <a:ext cx="3816000" cy="108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5393268"/>
            <a:ext cx="3816000" cy="296332"/>
          </a:xfrm>
        </p:spPr>
        <p:txBody>
          <a:bodyPr wrap="none"/>
          <a:lstStyle>
            <a:lvl1pPr marL="0" indent="0">
              <a:spcBef>
                <a:spcPts val="0"/>
              </a:spcBef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34" name="Text Placeholder 30"/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5691446"/>
            <a:ext cx="3816000" cy="296332"/>
          </a:xfrm>
        </p:spPr>
        <p:txBody>
          <a:bodyPr wrap="none"/>
          <a:lstStyle>
            <a:lvl1pPr marL="0" indent="0">
              <a:spcBef>
                <a:spcPts val="0"/>
              </a:spcBef>
              <a:buNone/>
              <a:defRPr sz="1200"/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/>
              <a:t>Department</a:t>
            </a:r>
          </a:p>
        </p:txBody>
      </p:sp>
    </p:spTree>
    <p:extLst>
      <p:ext uri="{BB962C8B-B14F-4D97-AF65-F5344CB8AC3E}">
        <p14:creationId xmlns:p14="http://schemas.microsoft.com/office/powerpoint/2010/main" val="19311084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17926178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30534242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31371" y="1052736"/>
            <a:ext cx="11329259" cy="5328592"/>
          </a:xfrm>
        </p:spPr>
        <p:txBody>
          <a:bodyPr/>
          <a:lstStyle>
            <a:lvl1pPr marL="479988" indent="-479988"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2400">
                <a:latin typeface="Arial" pitchFamily="34" charset="0"/>
              </a:defRPr>
            </a:lvl1pPr>
            <a:lvl2pPr marL="479988" indent="0">
              <a:spcBef>
                <a:spcPts val="400"/>
              </a:spcBef>
              <a:spcAft>
                <a:spcPts val="1600"/>
              </a:spcAft>
              <a:buClr>
                <a:schemeClr val="bg2"/>
              </a:buClr>
              <a:buFont typeface="+mj-lt"/>
              <a:buNone/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479988" indent="0">
              <a:spcAft>
                <a:spcPts val="1600"/>
              </a:spcAft>
              <a:buFontTx/>
              <a:buNone/>
              <a:defRPr sz="2400">
                <a:solidFill>
                  <a:schemeClr val="bg2"/>
                </a:solidFill>
                <a:latin typeface="Arial" pitchFamily="34" charset="0"/>
              </a:defRPr>
            </a:lvl3pPr>
            <a:lvl4pPr marL="479988" indent="0">
              <a:spcAft>
                <a:spcPts val="1600"/>
              </a:spcAft>
              <a:buFontTx/>
              <a:buNone/>
              <a:defRPr sz="2400">
                <a:solidFill>
                  <a:schemeClr val="bg2"/>
                </a:solidFill>
              </a:defRPr>
            </a:lvl4pPr>
            <a:lvl5pPr marL="479988" indent="0">
              <a:spcAft>
                <a:spcPts val="1600"/>
              </a:spcAft>
              <a:buFontTx/>
              <a:buNone/>
              <a:defRPr sz="2400" b="0">
                <a:solidFill>
                  <a:schemeClr val="bg2"/>
                </a:solidFill>
              </a:defRPr>
            </a:lvl5pPr>
            <a:lvl6pPr marL="479988" indent="0">
              <a:spcAft>
                <a:spcPts val="1600"/>
              </a:spcAft>
              <a:buFontTx/>
              <a:buNone/>
              <a:defRPr sz="2400">
                <a:solidFill>
                  <a:schemeClr val="bg2"/>
                </a:solidFill>
              </a:defRPr>
            </a:lvl6pPr>
            <a:lvl7pPr marL="479988" indent="0">
              <a:spcAft>
                <a:spcPts val="1600"/>
              </a:spcAft>
              <a:buFontTx/>
              <a:buNone/>
              <a:defRPr sz="2400">
                <a:solidFill>
                  <a:schemeClr val="bg2"/>
                </a:solidFill>
              </a:defRPr>
            </a:lvl7pPr>
            <a:lvl8pPr marL="479988" indent="0">
              <a:spcAft>
                <a:spcPts val="1600"/>
              </a:spcAft>
              <a:buFontTx/>
              <a:buNone/>
              <a:defRPr sz="2400">
                <a:solidFill>
                  <a:schemeClr val="bg2"/>
                </a:solidFill>
              </a:defRPr>
            </a:lvl8pPr>
            <a:lvl9pPr marL="479988" indent="0">
              <a:spcAft>
                <a:spcPts val="1600"/>
              </a:spcAft>
              <a:buFontTx/>
              <a:buNone/>
              <a:defRPr sz="24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029365" y="6597352"/>
            <a:ext cx="1731264" cy="1463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1067" smtClean="0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 algn="r"/>
            <a:fld id="{1BDBE1E8-50F2-49BA-A952-1CC1DEAA5FBD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129460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120916861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9275320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31132190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 bwMode="gray">
          <a:xfrm>
            <a:off x="431213" y="1700760"/>
            <a:ext cx="11328987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4" y="1220695"/>
            <a:ext cx="11329573" cy="38405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4" y="6404736"/>
            <a:ext cx="11328557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8682643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23576339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21437449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31373" y="2205037"/>
            <a:ext cx="11329257" cy="1584003"/>
          </a:xfrm>
        </p:spPr>
        <p:txBody>
          <a:bodyPr anchor="b"/>
          <a:lstStyle>
            <a:lvl1pPr>
              <a:defRPr sz="5067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1372" y="3861050"/>
            <a:ext cx="11329259" cy="1439615"/>
          </a:xfrm>
        </p:spPr>
        <p:txBody>
          <a:bodyPr/>
          <a:lstStyle>
            <a:lvl1pPr marL="0" indent="0" algn="l">
              <a:spcBef>
                <a:spcPts val="4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  <a:latin typeface="Arial" pitchFamily="34" charset="0"/>
              </a:defRPr>
            </a:lvl1pPr>
            <a:lvl2pPr marL="0" indent="0" algn="l">
              <a:spcBef>
                <a:spcPts val="4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4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4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400"/>
              </a:spcBef>
              <a:spcAft>
                <a:spcPts val="0"/>
              </a:spcAft>
              <a:buNone/>
              <a:defRPr sz="2667" b="0">
                <a:solidFill>
                  <a:schemeClr val="tx2"/>
                </a:solidFill>
              </a:defRPr>
            </a:lvl5pPr>
            <a:lvl6pPr marL="0" indent="0" algn="l">
              <a:spcBef>
                <a:spcPts val="4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4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Bef>
                <a:spcPts val="4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8pPr>
            <a:lvl9pPr marL="0" indent="0" algn="l">
              <a:spcBef>
                <a:spcPts val="4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371" y="6237312"/>
            <a:ext cx="11329259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6597650"/>
            <a:ext cx="12192000" cy="2603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2133" dirty="0" err="1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18121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7" hasCustomPrompt="1"/>
          </p:nvPr>
        </p:nvSpPr>
        <p:spPr>
          <a:xfrm>
            <a:off x="-1" y="0"/>
            <a:ext cx="8822478" cy="6858000"/>
          </a:xfrm>
          <a:custGeom>
            <a:avLst/>
            <a:gdLst>
              <a:gd name="connsiteX0" fmla="*/ 0 w 8822478"/>
              <a:gd name="connsiteY0" fmla="*/ 0 h 6858000"/>
              <a:gd name="connsiteX1" fmla="*/ 8477306 w 8822478"/>
              <a:gd name="connsiteY1" fmla="*/ 0 h 6858000"/>
              <a:gd name="connsiteX2" fmla="*/ 6998505 w 8822478"/>
              <a:gd name="connsiteY2" fmla="*/ 3834029 h 6858000"/>
              <a:gd name="connsiteX3" fmla="*/ 8822478 w 8822478"/>
              <a:gd name="connsiteY3" fmla="*/ 6858000 h 6858000"/>
              <a:gd name="connsiteX4" fmla="*/ 0 w 882247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22478" h="6858000">
                <a:moveTo>
                  <a:pt x="0" y="0"/>
                </a:moveTo>
                <a:lnTo>
                  <a:pt x="8477306" y="0"/>
                </a:lnTo>
                <a:lnTo>
                  <a:pt x="6998505" y="3834029"/>
                </a:lnTo>
                <a:lnTo>
                  <a:pt x="8822478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9DADB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1" name="Date Placeholder 20"/>
          <p:cNvSpPr>
            <a:spLocks noGrp="1"/>
          </p:cNvSpPr>
          <p:nvPr>
            <p:ph type="dt" sz="half" idx="14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A274CF1-226C-4201-826C-EA56EA2B3C12}" type="datetime5">
              <a:rPr lang="en-US" smtClean="0"/>
              <a:t>18-Nov-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5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3E29E4-0979-4FCA-B4C5-5FC6044C982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37533" y="2908628"/>
            <a:ext cx="4082992" cy="21036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398974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Picture Placeholder 67"/>
          <p:cNvSpPr>
            <a:spLocks noGrp="1"/>
          </p:cNvSpPr>
          <p:nvPr>
            <p:ph type="pic" sz="quarter" idx="12"/>
          </p:nvPr>
        </p:nvSpPr>
        <p:spPr bwMode="gray">
          <a:xfrm>
            <a:off x="431371" y="1123949"/>
            <a:ext cx="11329259" cy="5473403"/>
          </a:xfrm>
          <a:noFill/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623392" y="2420888"/>
            <a:ext cx="10945216" cy="1368152"/>
          </a:xfrm>
        </p:spPr>
        <p:txBody>
          <a:bodyPr anchor="b"/>
          <a:lstStyle>
            <a:lvl1pPr>
              <a:defRPr sz="5333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3393" y="3861048"/>
            <a:ext cx="10945217" cy="1512168"/>
          </a:xfrm>
        </p:spPr>
        <p:txBody>
          <a:bodyPr/>
          <a:lstStyle>
            <a:lvl1pPr marL="0" indent="0" algn="l">
              <a:spcBef>
                <a:spcPts val="400"/>
              </a:spcBef>
              <a:spcAft>
                <a:spcPts val="0"/>
              </a:spcAft>
              <a:buNone/>
              <a:defRPr sz="2667">
                <a:solidFill>
                  <a:schemeClr val="bg1"/>
                </a:solidFill>
                <a:latin typeface="Arial" pitchFamily="34" charset="0"/>
              </a:defRPr>
            </a:lvl1pPr>
            <a:lvl2pPr marL="0" indent="0" algn="l">
              <a:spcBef>
                <a:spcPts val="400"/>
              </a:spcBef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2pPr>
            <a:lvl3pPr marL="0" indent="0" algn="l">
              <a:spcBef>
                <a:spcPts val="400"/>
              </a:spcBef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3pPr>
            <a:lvl4pPr marL="0" indent="0" algn="l">
              <a:spcBef>
                <a:spcPts val="400"/>
              </a:spcBef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4pPr>
            <a:lvl5pPr marL="0" indent="0" algn="l">
              <a:spcBef>
                <a:spcPts val="400"/>
              </a:spcBef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5pPr>
            <a:lvl6pPr marL="0" indent="0" algn="l">
              <a:spcBef>
                <a:spcPts val="400"/>
              </a:spcBef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6pPr>
            <a:lvl7pPr marL="0" indent="0" algn="l">
              <a:spcBef>
                <a:spcPts val="400"/>
              </a:spcBef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7pPr>
            <a:lvl8pPr marL="0" indent="0" algn="l">
              <a:spcBef>
                <a:spcPts val="400"/>
              </a:spcBef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8pPr>
            <a:lvl9pPr marL="0" indent="0" algn="l">
              <a:spcBef>
                <a:spcPts val="400"/>
              </a:spcBef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  <a:p>
            <a:endParaRPr lang="en-US" dirty="0"/>
          </a:p>
        </p:txBody>
      </p:sp>
      <p:grpSp>
        <p:nvGrpSpPr>
          <p:cNvPr id="10" name="Gruppieren 9"/>
          <p:cNvGrpSpPr/>
          <p:nvPr userDrawn="1"/>
        </p:nvGrpSpPr>
        <p:grpSpPr bwMode="gray">
          <a:xfrm>
            <a:off x="-432733" y="908650"/>
            <a:ext cx="288040" cy="5688791"/>
            <a:chOff x="-540710" y="908650"/>
            <a:chExt cx="432060" cy="5688790"/>
          </a:xfrm>
        </p:grpSpPr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/>
          <p:cNvGrpSpPr/>
          <p:nvPr userDrawn="1"/>
        </p:nvGrpSpPr>
        <p:grpSpPr bwMode="gray">
          <a:xfrm>
            <a:off x="431800" y="-315520"/>
            <a:ext cx="11328987" cy="216031"/>
            <a:chOff x="323850" y="-531550"/>
            <a:chExt cx="8496740" cy="432060"/>
          </a:xfrm>
        </p:grpSpPr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uppieren 28"/>
          <p:cNvGrpSpPr/>
          <p:nvPr userDrawn="1"/>
        </p:nvGrpSpPr>
        <p:grpSpPr bwMode="gray">
          <a:xfrm>
            <a:off x="431213" y="6957490"/>
            <a:ext cx="11328987" cy="216031"/>
            <a:chOff x="323850" y="-531550"/>
            <a:chExt cx="8496740" cy="432060"/>
          </a:xfrm>
        </p:grpSpPr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/>
          <p:cNvGrpSpPr/>
          <p:nvPr userDrawn="1"/>
        </p:nvGrpSpPr>
        <p:grpSpPr bwMode="gray">
          <a:xfrm>
            <a:off x="12336867" y="908650"/>
            <a:ext cx="288040" cy="5688791"/>
            <a:chOff x="-540710" y="908650"/>
            <a:chExt cx="432060" cy="5688790"/>
          </a:xfrm>
        </p:grpSpPr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Rechteck 55"/>
          <p:cNvSpPr/>
          <p:nvPr userDrawn="1"/>
        </p:nvSpPr>
        <p:spPr bwMode="gray">
          <a:xfrm>
            <a:off x="0" y="6597650"/>
            <a:ext cx="12192000" cy="2603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2133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240" y="6237312"/>
            <a:ext cx="10945520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2541577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31371" y="1052736"/>
            <a:ext cx="11329259" cy="5328592"/>
          </a:xfrm>
        </p:spPr>
        <p:txBody>
          <a:bodyPr/>
          <a:lstStyle>
            <a:lvl1pPr marL="479988" indent="-479988"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2400">
                <a:latin typeface="Arial" pitchFamily="34" charset="0"/>
              </a:defRPr>
            </a:lvl1pPr>
            <a:lvl2pPr marL="479988" indent="0">
              <a:spcBef>
                <a:spcPts val="400"/>
              </a:spcBef>
              <a:spcAft>
                <a:spcPts val="1600"/>
              </a:spcAft>
              <a:buClr>
                <a:schemeClr val="bg2"/>
              </a:buClr>
              <a:buFont typeface="+mj-lt"/>
              <a:buNone/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479988" indent="0">
              <a:spcAft>
                <a:spcPts val="1600"/>
              </a:spcAft>
              <a:buFontTx/>
              <a:buNone/>
              <a:defRPr sz="2400">
                <a:solidFill>
                  <a:schemeClr val="bg2"/>
                </a:solidFill>
                <a:latin typeface="Arial" pitchFamily="34" charset="0"/>
              </a:defRPr>
            </a:lvl3pPr>
            <a:lvl4pPr marL="479988" indent="0">
              <a:spcAft>
                <a:spcPts val="1600"/>
              </a:spcAft>
              <a:buFontTx/>
              <a:buNone/>
              <a:defRPr sz="2400">
                <a:solidFill>
                  <a:schemeClr val="bg2"/>
                </a:solidFill>
              </a:defRPr>
            </a:lvl4pPr>
            <a:lvl5pPr marL="479988" indent="0">
              <a:spcAft>
                <a:spcPts val="1600"/>
              </a:spcAft>
              <a:buFontTx/>
              <a:buNone/>
              <a:defRPr sz="2400" b="0">
                <a:solidFill>
                  <a:schemeClr val="bg2"/>
                </a:solidFill>
              </a:defRPr>
            </a:lvl5pPr>
            <a:lvl6pPr marL="479988" indent="0">
              <a:spcAft>
                <a:spcPts val="1600"/>
              </a:spcAft>
              <a:buFontTx/>
              <a:buNone/>
              <a:defRPr sz="2400">
                <a:solidFill>
                  <a:schemeClr val="bg2"/>
                </a:solidFill>
              </a:defRPr>
            </a:lvl6pPr>
            <a:lvl7pPr marL="479988" indent="0">
              <a:spcAft>
                <a:spcPts val="1600"/>
              </a:spcAft>
              <a:buFontTx/>
              <a:buNone/>
              <a:defRPr sz="2400">
                <a:solidFill>
                  <a:schemeClr val="bg2"/>
                </a:solidFill>
              </a:defRPr>
            </a:lvl7pPr>
            <a:lvl8pPr marL="479988" indent="0">
              <a:spcAft>
                <a:spcPts val="1600"/>
              </a:spcAft>
              <a:buFontTx/>
              <a:buNone/>
              <a:defRPr sz="2400">
                <a:solidFill>
                  <a:schemeClr val="bg2"/>
                </a:solidFill>
              </a:defRPr>
            </a:lvl8pPr>
            <a:lvl9pPr marL="479988" indent="0">
              <a:spcAft>
                <a:spcPts val="1600"/>
              </a:spcAft>
              <a:buFontTx/>
              <a:buNone/>
              <a:defRPr sz="24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029365" y="6597352"/>
            <a:ext cx="1731264" cy="1463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1067" smtClean="0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 algn="r"/>
            <a:fld id="{1BDBE1E8-50F2-49BA-A952-1CC1DEAA5FBD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87402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2205039"/>
            <a:ext cx="12192000" cy="2447924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4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432907" y="908650"/>
            <a:ext cx="288040" cy="5688791"/>
            <a:chOff x="-540710" y="908650"/>
            <a:chExt cx="432060" cy="5688790"/>
          </a:xfrm>
        </p:grpSpPr>
        <p:cxnSp>
          <p:nvCxnSpPr>
            <p:cNvPr id="6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 userDrawn="1"/>
        </p:nvGrpSpPr>
        <p:grpSpPr bwMode="gray">
          <a:xfrm>
            <a:off x="431800" y="-315520"/>
            <a:ext cx="11328987" cy="216031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 userDrawn="1"/>
        </p:nvGrpSpPr>
        <p:grpSpPr bwMode="gray">
          <a:xfrm>
            <a:off x="431213" y="6957490"/>
            <a:ext cx="11328987" cy="216031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 userDrawn="1"/>
        </p:nvGrpSpPr>
        <p:grpSpPr bwMode="gray">
          <a:xfrm>
            <a:off x="12336867" y="908650"/>
            <a:ext cx="288040" cy="5688791"/>
            <a:chOff x="-540710" y="908650"/>
            <a:chExt cx="432060" cy="568879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hteck 2"/>
          <p:cNvSpPr/>
          <p:nvPr userDrawn="1"/>
        </p:nvSpPr>
        <p:spPr bwMode="gray">
          <a:xfrm>
            <a:off x="0" y="0"/>
            <a:ext cx="12192000" cy="213285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de-DE" sz="2133" dirty="0" err="1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28520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ing docu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 userDrawn="1"/>
        </p:nvSpPr>
        <p:spPr bwMode="gray">
          <a:xfrm>
            <a:off x="0" y="2636912"/>
            <a:ext cx="12192000" cy="72008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133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0" y="2708920"/>
            <a:ext cx="12192000" cy="1440160"/>
          </a:xfrm>
        </p:spPr>
        <p:txBody>
          <a:bodyPr lIns="324000" rIns="324000" bIns="0" anchor="ctr"/>
          <a:lstStyle>
            <a:lvl1pPr>
              <a:defRPr sz="4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432907" y="908650"/>
            <a:ext cx="288040" cy="5688791"/>
            <a:chOff x="-540710" y="908650"/>
            <a:chExt cx="432060" cy="5688790"/>
          </a:xfrm>
        </p:grpSpPr>
        <p:cxnSp>
          <p:nvCxnSpPr>
            <p:cNvPr id="6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 userDrawn="1"/>
        </p:nvGrpSpPr>
        <p:grpSpPr bwMode="gray">
          <a:xfrm>
            <a:off x="431800" y="-315520"/>
            <a:ext cx="11328987" cy="216031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 userDrawn="1"/>
        </p:nvGrpSpPr>
        <p:grpSpPr bwMode="gray">
          <a:xfrm>
            <a:off x="431213" y="6957490"/>
            <a:ext cx="11328987" cy="216031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 userDrawn="1"/>
        </p:nvGrpSpPr>
        <p:grpSpPr bwMode="gray">
          <a:xfrm>
            <a:off x="12336867" y="908650"/>
            <a:ext cx="288040" cy="5688791"/>
            <a:chOff x="-540710" y="908650"/>
            <a:chExt cx="432060" cy="568879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Rechteck 66"/>
          <p:cNvSpPr/>
          <p:nvPr userDrawn="1"/>
        </p:nvSpPr>
        <p:spPr bwMode="gray">
          <a:xfrm>
            <a:off x="0" y="4149080"/>
            <a:ext cx="12192000" cy="72008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133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0" y="0"/>
            <a:ext cx="12192000" cy="263691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de-DE" sz="2133" dirty="0" err="1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430332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453189"/>
            <a:ext cx="11328400" cy="144463"/>
          </a:xfrm>
        </p:spPr>
        <p:txBody>
          <a:bodyPr tIns="0" bIns="36000" anchor="b" anchorCtr="0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67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0"/>
              </a:spcAft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0"/>
              </a:spcAft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0"/>
              </a:spcAft>
              <a:buNone/>
              <a:defRPr sz="1200" b="0">
                <a:solidFill>
                  <a:schemeClr val="bg2"/>
                </a:solidFill>
              </a:defRPr>
            </a:lvl5pPr>
            <a:lvl6pPr marL="0" indent="0">
              <a:spcBef>
                <a:spcPts val="400"/>
              </a:spcBef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400"/>
              </a:spcBef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400"/>
              </a:spcBef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400"/>
              </a:spcBef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851451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453189"/>
            <a:ext cx="11328400" cy="144463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67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0"/>
              </a:spcAft>
              <a:buNone/>
              <a:defRPr sz="12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037356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add text</a:t>
            </a:r>
            <a:endParaRPr lang="en-GB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453189"/>
            <a:ext cx="11328400" cy="144463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67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0"/>
              </a:spcAft>
              <a:buNone/>
              <a:defRPr sz="12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431373" y="1052736"/>
            <a:ext cx="5569380" cy="5328592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6192015" y="1052736"/>
            <a:ext cx="5569380" cy="5328592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4450741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453189"/>
            <a:ext cx="11328400" cy="144463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67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0"/>
              </a:spcAft>
              <a:buNone/>
              <a:defRPr sz="12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431373" y="1052736"/>
            <a:ext cx="3647447" cy="5328592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271749" y="1052671"/>
            <a:ext cx="3647447" cy="5328592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8112282" y="1052604"/>
            <a:ext cx="3647447" cy="5328592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82097462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2133" dirty="0" err="1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6" name="Gruppieren 5"/>
          <p:cNvGrpSpPr/>
          <p:nvPr/>
        </p:nvGrpSpPr>
        <p:grpSpPr bwMode="gray">
          <a:xfrm>
            <a:off x="-432907" y="908650"/>
            <a:ext cx="288040" cy="5688791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6"/>
          <p:cNvGrpSpPr/>
          <p:nvPr/>
        </p:nvGrpSpPr>
        <p:grpSpPr bwMode="gray">
          <a:xfrm>
            <a:off x="431800" y="-315520"/>
            <a:ext cx="11328987" cy="216031"/>
            <a:chOff x="323850" y="-531550"/>
            <a:chExt cx="8496740" cy="432060"/>
          </a:xfrm>
        </p:grpSpPr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431213" y="6957490"/>
            <a:ext cx="11328987" cy="216031"/>
            <a:chOff x="323850" y="-531550"/>
            <a:chExt cx="8496740" cy="432060"/>
          </a:xfrm>
        </p:grpSpPr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uppieren 8"/>
          <p:cNvGrpSpPr/>
          <p:nvPr/>
        </p:nvGrpSpPr>
        <p:grpSpPr bwMode="gray">
          <a:xfrm>
            <a:off x="12336867" y="908650"/>
            <a:ext cx="288040" cy="5688791"/>
            <a:chOff x="-540710" y="908650"/>
            <a:chExt cx="432060" cy="5688790"/>
          </a:xfrm>
        </p:grpSpPr>
        <p:cxnSp>
          <p:nvCxnSpPr>
            <p:cNvPr id="22" name="Gerade Verbindung 21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431371" y="1124681"/>
            <a:ext cx="11329259" cy="2664683"/>
          </a:xfrm>
        </p:spPr>
        <p:txBody>
          <a:bodyPr/>
          <a:lstStyle>
            <a:lvl1pPr>
              <a:defRPr sz="5067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68271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en-US" sz="2133" dirty="0" err="1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-432907" y="-315520"/>
            <a:ext cx="13057813" cy="7489040"/>
            <a:chOff x="-324680" y="-315520"/>
            <a:chExt cx="9793360" cy="7489040"/>
          </a:xfrm>
        </p:grpSpPr>
        <p:grpSp>
          <p:nvGrpSpPr>
            <p:cNvPr id="6" name="Gruppieren 5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59" name="Gerade Verbindung 58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uppieren 6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7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5" name="Gerade Verbindung 34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8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2" name="Gerade Verbindung 21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31800" y="1123951"/>
            <a:ext cx="11328829" cy="2665413"/>
          </a:xfrm>
        </p:spPr>
        <p:txBody>
          <a:bodyPr/>
          <a:lstStyle>
            <a:lvl1pPr>
              <a:defRPr sz="5067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92138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p2"/>
          <p:cNvSpPr/>
          <p:nvPr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21" name="Date Placeholder 20"/>
          <p:cNvSpPr>
            <a:spLocks noGrp="1"/>
          </p:cNvSpPr>
          <p:nvPr>
            <p:ph type="dt" sz="half" idx="14"/>
          </p:nvPr>
        </p:nvSpPr>
        <p:spPr bwMode="ltGray"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869822F-F9F4-4987-AC88-332F892BB2CC}" type="datetime5">
              <a:rPr lang="en-US" smtClean="0"/>
              <a:t>18-Nov-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5"/>
          </p:nvPr>
        </p:nvSpPr>
        <p:spPr bwMode="ltGray"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6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3E29E4-0979-4FCA-B4C5-5FC6044C982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pyright"/>
          <p:cNvSpPr txBox="1"/>
          <p:nvPr/>
        </p:nvSpPr>
        <p:spPr>
          <a:xfrm>
            <a:off x="10672209" y="6237288"/>
            <a:ext cx="500617" cy="35817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marL="0" indent="0" algn="r">
              <a:lnSpc>
                <a:spcPct val="125000"/>
              </a:lnSpc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en-US" sz="800" dirty="0">
                <a:solidFill>
                  <a:schemeClr val="bg1"/>
                </a:solidFill>
              </a:rPr>
              <a:t>© GfK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1075062" y="1519552"/>
            <a:ext cx="10097763" cy="227317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grpSp>
        <p:nvGrpSpPr>
          <p:cNvPr id="9" name="logo">
            <a:extLst>
              <a:ext uri="{FF2B5EF4-FFF2-40B4-BE49-F238E27FC236}">
                <a16:creationId xmlns:a16="http://schemas.microsoft.com/office/drawing/2014/main" id="{57BD2C4C-DC67-B843-B26C-309622FC75F7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174018" y="401441"/>
            <a:ext cx="644225" cy="646507"/>
            <a:chOff x="2711" y="1027"/>
            <a:chExt cx="2258" cy="2266"/>
          </a:xfrm>
        </p:grpSpPr>
        <p:sp>
          <p:nvSpPr>
            <p:cNvPr id="11" name="AutoShape 3">
              <a:extLst>
                <a:ext uri="{FF2B5EF4-FFF2-40B4-BE49-F238E27FC236}">
                  <a16:creationId xmlns:a16="http://schemas.microsoft.com/office/drawing/2014/main" id="{FE1DC41B-291E-574C-9F2C-874E70A4075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gray">
            <a:xfrm>
              <a:off x="2711" y="1027"/>
              <a:ext cx="2258" cy="22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B633C8-F761-C54B-9BD2-EB59D49A2D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9" y="1029"/>
              <a:ext cx="2260" cy="2262"/>
            </a:xfrm>
            <a:custGeom>
              <a:avLst/>
              <a:gdLst>
                <a:gd name="T0" fmla="*/ 2260 w 2260"/>
                <a:gd name="T1" fmla="*/ 0 h 2262"/>
                <a:gd name="T2" fmla="*/ 1612 w 2260"/>
                <a:gd name="T3" fmla="*/ 649 h 2262"/>
                <a:gd name="T4" fmla="*/ 1612 w 2260"/>
                <a:gd name="T5" fmla="*/ 649 h 2262"/>
                <a:gd name="T6" fmla="*/ 2035 w 2260"/>
                <a:gd name="T7" fmla="*/ 0 h 2262"/>
                <a:gd name="T8" fmla="*/ 0 w 2260"/>
                <a:gd name="T9" fmla="*/ 0 h 2262"/>
                <a:gd name="T10" fmla="*/ 0 w 2260"/>
                <a:gd name="T11" fmla="*/ 2262 h 2262"/>
                <a:gd name="T12" fmla="*/ 2260 w 2260"/>
                <a:gd name="T13" fmla="*/ 2262 h 2262"/>
                <a:gd name="T14" fmla="*/ 2260 w 2260"/>
                <a:gd name="T15" fmla="*/ 0 h 2262"/>
                <a:gd name="T16" fmla="*/ 2260 w 2260"/>
                <a:gd name="T17" fmla="*/ 0 h 2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60" h="2262">
                  <a:moveTo>
                    <a:pt x="2260" y="0"/>
                  </a:moveTo>
                  <a:lnTo>
                    <a:pt x="1612" y="649"/>
                  </a:lnTo>
                  <a:lnTo>
                    <a:pt x="1612" y="649"/>
                  </a:lnTo>
                  <a:lnTo>
                    <a:pt x="2035" y="0"/>
                  </a:lnTo>
                  <a:lnTo>
                    <a:pt x="0" y="0"/>
                  </a:lnTo>
                  <a:lnTo>
                    <a:pt x="0" y="2262"/>
                  </a:lnTo>
                  <a:lnTo>
                    <a:pt x="2260" y="2262"/>
                  </a:lnTo>
                  <a:lnTo>
                    <a:pt x="2260" y="0"/>
                  </a:lnTo>
                  <a:lnTo>
                    <a:pt x="2260" y="0"/>
                  </a:lnTo>
                  <a:close/>
                </a:path>
              </a:pathLst>
            </a:custGeom>
            <a:solidFill>
              <a:srgbClr val="E55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B16BAAE4-1A41-C843-9754-490F7A1E127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623" y="1696"/>
              <a:ext cx="1167" cy="922"/>
            </a:xfrm>
            <a:custGeom>
              <a:avLst/>
              <a:gdLst>
                <a:gd name="T0" fmla="*/ 411 w 580"/>
                <a:gd name="T1" fmla="*/ 213 h 458"/>
                <a:gd name="T2" fmla="*/ 570 w 580"/>
                <a:gd name="T3" fmla="*/ 37 h 458"/>
                <a:gd name="T4" fmla="*/ 580 w 580"/>
                <a:gd name="T5" fmla="*/ 20 h 458"/>
                <a:gd name="T6" fmla="*/ 545 w 580"/>
                <a:gd name="T7" fmla="*/ 0 h 458"/>
                <a:gd name="T8" fmla="*/ 519 w 580"/>
                <a:gd name="T9" fmla="*/ 16 h 458"/>
                <a:gd name="T10" fmla="*/ 344 w 580"/>
                <a:gd name="T11" fmla="*/ 210 h 458"/>
                <a:gd name="T12" fmla="*/ 334 w 580"/>
                <a:gd name="T13" fmla="*/ 229 h 458"/>
                <a:gd name="T14" fmla="*/ 344 w 580"/>
                <a:gd name="T15" fmla="*/ 248 h 458"/>
                <a:gd name="T16" fmla="*/ 519 w 580"/>
                <a:gd name="T17" fmla="*/ 442 h 458"/>
                <a:gd name="T18" fmla="*/ 545 w 580"/>
                <a:gd name="T19" fmla="*/ 458 h 458"/>
                <a:gd name="T20" fmla="*/ 580 w 580"/>
                <a:gd name="T21" fmla="*/ 438 h 458"/>
                <a:gd name="T22" fmla="*/ 570 w 580"/>
                <a:gd name="T23" fmla="*/ 421 h 458"/>
                <a:gd name="T24" fmla="*/ 411 w 580"/>
                <a:gd name="T25" fmla="*/ 245 h 458"/>
                <a:gd name="T26" fmla="*/ 399 w 580"/>
                <a:gd name="T27" fmla="*/ 229 h 458"/>
                <a:gd name="T28" fmla="*/ 411 w 580"/>
                <a:gd name="T29" fmla="*/ 213 h 458"/>
                <a:gd name="T30" fmla="*/ 252 w 580"/>
                <a:gd name="T31" fmla="*/ 439 h 458"/>
                <a:gd name="T32" fmla="*/ 281 w 580"/>
                <a:gd name="T33" fmla="*/ 454 h 458"/>
                <a:gd name="T34" fmla="*/ 309 w 580"/>
                <a:gd name="T35" fmla="*/ 439 h 458"/>
                <a:gd name="T36" fmla="*/ 309 w 580"/>
                <a:gd name="T37" fmla="*/ 19 h 458"/>
                <a:gd name="T38" fmla="*/ 281 w 580"/>
                <a:gd name="T39" fmla="*/ 4 h 458"/>
                <a:gd name="T40" fmla="*/ 252 w 580"/>
                <a:gd name="T41" fmla="*/ 19 h 458"/>
                <a:gd name="T42" fmla="*/ 252 w 580"/>
                <a:gd name="T43" fmla="*/ 439 h 458"/>
                <a:gd name="T44" fmla="*/ 0 w 580"/>
                <a:gd name="T45" fmla="*/ 439 h 458"/>
                <a:gd name="T46" fmla="*/ 28 w 580"/>
                <a:gd name="T47" fmla="*/ 454 h 458"/>
                <a:gd name="T48" fmla="*/ 56 w 580"/>
                <a:gd name="T49" fmla="*/ 439 h 458"/>
                <a:gd name="T50" fmla="*/ 56 w 580"/>
                <a:gd name="T51" fmla="*/ 157 h 458"/>
                <a:gd name="T52" fmla="*/ 165 w 580"/>
                <a:gd name="T53" fmla="*/ 53 h 458"/>
                <a:gd name="T54" fmla="*/ 180 w 580"/>
                <a:gd name="T55" fmla="*/ 53 h 458"/>
                <a:gd name="T56" fmla="*/ 196 w 580"/>
                <a:gd name="T57" fmla="*/ 27 h 458"/>
                <a:gd name="T58" fmla="*/ 154 w 580"/>
                <a:gd name="T59" fmla="*/ 4 h 458"/>
                <a:gd name="T60" fmla="*/ 0 w 580"/>
                <a:gd name="T61" fmla="*/ 152 h 458"/>
                <a:gd name="T62" fmla="*/ 0 w 580"/>
                <a:gd name="T63" fmla="*/ 439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80" h="458">
                  <a:moveTo>
                    <a:pt x="411" y="213"/>
                  </a:moveTo>
                  <a:cubicBezTo>
                    <a:pt x="570" y="37"/>
                    <a:pt x="570" y="37"/>
                    <a:pt x="570" y="37"/>
                  </a:cubicBezTo>
                  <a:cubicBezTo>
                    <a:pt x="576" y="30"/>
                    <a:pt x="580" y="25"/>
                    <a:pt x="580" y="20"/>
                  </a:cubicBezTo>
                  <a:cubicBezTo>
                    <a:pt x="580" y="10"/>
                    <a:pt x="559" y="0"/>
                    <a:pt x="545" y="0"/>
                  </a:cubicBezTo>
                  <a:cubicBezTo>
                    <a:pt x="535" y="0"/>
                    <a:pt x="526" y="8"/>
                    <a:pt x="519" y="16"/>
                  </a:cubicBezTo>
                  <a:cubicBezTo>
                    <a:pt x="344" y="210"/>
                    <a:pt x="344" y="210"/>
                    <a:pt x="344" y="210"/>
                  </a:cubicBezTo>
                  <a:cubicBezTo>
                    <a:pt x="336" y="219"/>
                    <a:pt x="334" y="224"/>
                    <a:pt x="334" y="229"/>
                  </a:cubicBezTo>
                  <a:cubicBezTo>
                    <a:pt x="334" y="234"/>
                    <a:pt x="336" y="239"/>
                    <a:pt x="344" y="248"/>
                  </a:cubicBezTo>
                  <a:cubicBezTo>
                    <a:pt x="519" y="442"/>
                    <a:pt x="519" y="442"/>
                    <a:pt x="519" y="442"/>
                  </a:cubicBezTo>
                  <a:cubicBezTo>
                    <a:pt x="526" y="450"/>
                    <a:pt x="535" y="458"/>
                    <a:pt x="545" y="458"/>
                  </a:cubicBezTo>
                  <a:cubicBezTo>
                    <a:pt x="559" y="458"/>
                    <a:pt x="580" y="448"/>
                    <a:pt x="580" y="438"/>
                  </a:cubicBezTo>
                  <a:cubicBezTo>
                    <a:pt x="580" y="433"/>
                    <a:pt x="576" y="428"/>
                    <a:pt x="570" y="421"/>
                  </a:cubicBezTo>
                  <a:cubicBezTo>
                    <a:pt x="411" y="245"/>
                    <a:pt x="411" y="245"/>
                    <a:pt x="411" y="245"/>
                  </a:cubicBezTo>
                  <a:cubicBezTo>
                    <a:pt x="403" y="236"/>
                    <a:pt x="399" y="232"/>
                    <a:pt x="399" y="229"/>
                  </a:cubicBezTo>
                  <a:cubicBezTo>
                    <a:pt x="399" y="226"/>
                    <a:pt x="403" y="222"/>
                    <a:pt x="411" y="213"/>
                  </a:cubicBezTo>
                  <a:moveTo>
                    <a:pt x="252" y="439"/>
                  </a:moveTo>
                  <a:cubicBezTo>
                    <a:pt x="252" y="449"/>
                    <a:pt x="261" y="454"/>
                    <a:pt x="281" y="454"/>
                  </a:cubicBezTo>
                  <a:cubicBezTo>
                    <a:pt x="300" y="454"/>
                    <a:pt x="309" y="449"/>
                    <a:pt x="309" y="439"/>
                  </a:cubicBezTo>
                  <a:cubicBezTo>
                    <a:pt x="309" y="19"/>
                    <a:pt x="309" y="19"/>
                    <a:pt x="309" y="19"/>
                  </a:cubicBezTo>
                  <a:cubicBezTo>
                    <a:pt x="309" y="9"/>
                    <a:pt x="300" y="4"/>
                    <a:pt x="281" y="4"/>
                  </a:cubicBezTo>
                  <a:cubicBezTo>
                    <a:pt x="261" y="4"/>
                    <a:pt x="252" y="9"/>
                    <a:pt x="252" y="19"/>
                  </a:cubicBezTo>
                  <a:lnTo>
                    <a:pt x="252" y="439"/>
                  </a:lnTo>
                  <a:close/>
                  <a:moveTo>
                    <a:pt x="0" y="439"/>
                  </a:moveTo>
                  <a:cubicBezTo>
                    <a:pt x="0" y="449"/>
                    <a:pt x="8" y="454"/>
                    <a:pt x="28" y="454"/>
                  </a:cubicBezTo>
                  <a:cubicBezTo>
                    <a:pt x="48" y="454"/>
                    <a:pt x="56" y="449"/>
                    <a:pt x="56" y="439"/>
                  </a:cubicBezTo>
                  <a:cubicBezTo>
                    <a:pt x="56" y="157"/>
                    <a:pt x="56" y="157"/>
                    <a:pt x="56" y="157"/>
                  </a:cubicBezTo>
                  <a:cubicBezTo>
                    <a:pt x="56" y="83"/>
                    <a:pt x="85" y="53"/>
                    <a:pt x="165" y="53"/>
                  </a:cubicBezTo>
                  <a:cubicBezTo>
                    <a:pt x="180" y="53"/>
                    <a:pt x="180" y="53"/>
                    <a:pt x="180" y="53"/>
                  </a:cubicBezTo>
                  <a:cubicBezTo>
                    <a:pt x="192" y="53"/>
                    <a:pt x="196" y="43"/>
                    <a:pt x="196" y="27"/>
                  </a:cubicBezTo>
                  <a:cubicBezTo>
                    <a:pt x="196" y="8"/>
                    <a:pt x="185" y="4"/>
                    <a:pt x="154" y="4"/>
                  </a:cubicBezTo>
                  <a:cubicBezTo>
                    <a:pt x="64" y="4"/>
                    <a:pt x="0" y="43"/>
                    <a:pt x="0" y="152"/>
                  </a:cubicBezTo>
                  <a:lnTo>
                    <a:pt x="0" y="4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2F32DCBD-8628-F245-85CD-97686A20ECFD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0" y="1704"/>
              <a:ext cx="618" cy="916"/>
            </a:xfrm>
            <a:custGeom>
              <a:avLst/>
              <a:gdLst>
                <a:gd name="T0" fmla="*/ 307 w 307"/>
                <a:gd name="T1" fmla="*/ 405 h 455"/>
                <a:gd name="T2" fmla="*/ 307 w 307"/>
                <a:gd name="T3" fmla="*/ 244 h 455"/>
                <a:gd name="T4" fmla="*/ 279 w 307"/>
                <a:gd name="T5" fmla="*/ 229 h 455"/>
                <a:gd name="T6" fmla="*/ 250 w 307"/>
                <a:gd name="T7" fmla="*/ 244 h 455"/>
                <a:gd name="T8" fmla="*/ 250 w 307"/>
                <a:gd name="T9" fmla="*/ 378 h 455"/>
                <a:gd name="T10" fmla="*/ 199 w 307"/>
                <a:gd name="T11" fmla="*/ 408 h 455"/>
                <a:gd name="T12" fmla="*/ 61 w 307"/>
                <a:gd name="T13" fmla="*/ 231 h 455"/>
                <a:gd name="T14" fmla="*/ 238 w 307"/>
                <a:gd name="T15" fmla="*/ 49 h 455"/>
                <a:gd name="T16" fmla="*/ 270 w 307"/>
                <a:gd name="T17" fmla="*/ 49 h 455"/>
                <a:gd name="T18" fmla="*/ 286 w 307"/>
                <a:gd name="T19" fmla="*/ 23 h 455"/>
                <a:gd name="T20" fmla="*/ 244 w 307"/>
                <a:gd name="T21" fmla="*/ 0 h 455"/>
                <a:gd name="T22" fmla="*/ 231 w 307"/>
                <a:gd name="T23" fmla="*/ 0 h 455"/>
                <a:gd name="T24" fmla="*/ 0 w 307"/>
                <a:gd name="T25" fmla="*/ 232 h 455"/>
                <a:gd name="T26" fmla="*/ 198 w 307"/>
                <a:gd name="T27" fmla="*/ 455 h 455"/>
                <a:gd name="T28" fmla="*/ 307 w 307"/>
                <a:gd name="T29" fmla="*/ 40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7" h="455">
                  <a:moveTo>
                    <a:pt x="307" y="405"/>
                  </a:moveTo>
                  <a:cubicBezTo>
                    <a:pt x="307" y="244"/>
                    <a:pt x="307" y="244"/>
                    <a:pt x="307" y="244"/>
                  </a:cubicBezTo>
                  <a:cubicBezTo>
                    <a:pt x="307" y="234"/>
                    <a:pt x="298" y="229"/>
                    <a:pt x="279" y="229"/>
                  </a:cubicBezTo>
                  <a:cubicBezTo>
                    <a:pt x="259" y="229"/>
                    <a:pt x="250" y="234"/>
                    <a:pt x="250" y="244"/>
                  </a:cubicBezTo>
                  <a:cubicBezTo>
                    <a:pt x="250" y="378"/>
                    <a:pt x="250" y="378"/>
                    <a:pt x="250" y="378"/>
                  </a:cubicBezTo>
                  <a:cubicBezTo>
                    <a:pt x="250" y="399"/>
                    <a:pt x="241" y="408"/>
                    <a:pt x="199" y="408"/>
                  </a:cubicBezTo>
                  <a:cubicBezTo>
                    <a:pt x="114" y="408"/>
                    <a:pt x="61" y="342"/>
                    <a:pt x="61" y="231"/>
                  </a:cubicBezTo>
                  <a:cubicBezTo>
                    <a:pt x="61" y="115"/>
                    <a:pt x="126" y="49"/>
                    <a:pt x="238" y="49"/>
                  </a:cubicBezTo>
                  <a:cubicBezTo>
                    <a:pt x="270" y="49"/>
                    <a:pt x="270" y="49"/>
                    <a:pt x="270" y="49"/>
                  </a:cubicBezTo>
                  <a:cubicBezTo>
                    <a:pt x="282" y="49"/>
                    <a:pt x="286" y="39"/>
                    <a:pt x="286" y="23"/>
                  </a:cubicBezTo>
                  <a:cubicBezTo>
                    <a:pt x="286" y="4"/>
                    <a:pt x="275" y="0"/>
                    <a:pt x="244" y="0"/>
                  </a:cubicBezTo>
                  <a:cubicBezTo>
                    <a:pt x="231" y="0"/>
                    <a:pt x="231" y="0"/>
                    <a:pt x="231" y="0"/>
                  </a:cubicBezTo>
                  <a:cubicBezTo>
                    <a:pt x="101" y="0"/>
                    <a:pt x="0" y="71"/>
                    <a:pt x="0" y="232"/>
                  </a:cubicBezTo>
                  <a:cubicBezTo>
                    <a:pt x="0" y="386"/>
                    <a:pt x="88" y="455"/>
                    <a:pt x="198" y="455"/>
                  </a:cubicBezTo>
                  <a:cubicBezTo>
                    <a:pt x="286" y="455"/>
                    <a:pt x="307" y="430"/>
                    <a:pt x="307" y="40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  <p:sp>
          <p:nvSpPr>
            <p:cNvPr id="15" name="Oval 8">
              <a:extLst>
                <a:ext uri="{FF2B5EF4-FFF2-40B4-BE49-F238E27FC236}">
                  <a16:creationId xmlns:a16="http://schemas.microsoft.com/office/drawing/2014/main" id="{60D97C11-1A3B-5449-A48D-98A3E79B381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778" y="2099"/>
              <a:ext cx="122" cy="12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5856770D-B8F0-244E-A05D-AED190086F1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623" y="1696"/>
              <a:ext cx="1167" cy="922"/>
            </a:xfrm>
            <a:custGeom>
              <a:avLst/>
              <a:gdLst>
                <a:gd name="T0" fmla="*/ 411 w 580"/>
                <a:gd name="T1" fmla="*/ 213 h 458"/>
                <a:gd name="T2" fmla="*/ 570 w 580"/>
                <a:gd name="T3" fmla="*/ 37 h 458"/>
                <a:gd name="T4" fmla="*/ 580 w 580"/>
                <a:gd name="T5" fmla="*/ 20 h 458"/>
                <a:gd name="T6" fmla="*/ 545 w 580"/>
                <a:gd name="T7" fmla="*/ 0 h 458"/>
                <a:gd name="T8" fmla="*/ 519 w 580"/>
                <a:gd name="T9" fmla="*/ 16 h 458"/>
                <a:gd name="T10" fmla="*/ 344 w 580"/>
                <a:gd name="T11" fmla="*/ 210 h 458"/>
                <a:gd name="T12" fmla="*/ 334 w 580"/>
                <a:gd name="T13" fmla="*/ 229 h 458"/>
                <a:gd name="T14" fmla="*/ 344 w 580"/>
                <a:gd name="T15" fmla="*/ 248 h 458"/>
                <a:gd name="T16" fmla="*/ 519 w 580"/>
                <a:gd name="T17" fmla="*/ 442 h 458"/>
                <a:gd name="T18" fmla="*/ 545 w 580"/>
                <a:gd name="T19" fmla="*/ 458 h 458"/>
                <a:gd name="T20" fmla="*/ 580 w 580"/>
                <a:gd name="T21" fmla="*/ 438 h 458"/>
                <a:gd name="T22" fmla="*/ 570 w 580"/>
                <a:gd name="T23" fmla="*/ 421 h 458"/>
                <a:gd name="T24" fmla="*/ 411 w 580"/>
                <a:gd name="T25" fmla="*/ 245 h 458"/>
                <a:gd name="T26" fmla="*/ 399 w 580"/>
                <a:gd name="T27" fmla="*/ 229 h 458"/>
                <a:gd name="T28" fmla="*/ 411 w 580"/>
                <a:gd name="T29" fmla="*/ 213 h 458"/>
                <a:gd name="T30" fmla="*/ 252 w 580"/>
                <a:gd name="T31" fmla="*/ 439 h 458"/>
                <a:gd name="T32" fmla="*/ 281 w 580"/>
                <a:gd name="T33" fmla="*/ 454 h 458"/>
                <a:gd name="T34" fmla="*/ 309 w 580"/>
                <a:gd name="T35" fmla="*/ 439 h 458"/>
                <a:gd name="T36" fmla="*/ 309 w 580"/>
                <a:gd name="T37" fmla="*/ 19 h 458"/>
                <a:gd name="T38" fmla="*/ 281 w 580"/>
                <a:gd name="T39" fmla="*/ 4 h 458"/>
                <a:gd name="T40" fmla="*/ 252 w 580"/>
                <a:gd name="T41" fmla="*/ 19 h 458"/>
                <a:gd name="T42" fmla="*/ 252 w 580"/>
                <a:gd name="T43" fmla="*/ 439 h 458"/>
                <a:gd name="T44" fmla="*/ 0 w 580"/>
                <a:gd name="T45" fmla="*/ 439 h 458"/>
                <a:gd name="T46" fmla="*/ 28 w 580"/>
                <a:gd name="T47" fmla="*/ 454 h 458"/>
                <a:gd name="T48" fmla="*/ 56 w 580"/>
                <a:gd name="T49" fmla="*/ 439 h 458"/>
                <a:gd name="T50" fmla="*/ 56 w 580"/>
                <a:gd name="T51" fmla="*/ 157 h 458"/>
                <a:gd name="T52" fmla="*/ 165 w 580"/>
                <a:gd name="T53" fmla="*/ 53 h 458"/>
                <a:gd name="T54" fmla="*/ 180 w 580"/>
                <a:gd name="T55" fmla="*/ 53 h 458"/>
                <a:gd name="T56" fmla="*/ 196 w 580"/>
                <a:gd name="T57" fmla="*/ 27 h 458"/>
                <a:gd name="T58" fmla="*/ 154 w 580"/>
                <a:gd name="T59" fmla="*/ 4 h 458"/>
                <a:gd name="T60" fmla="*/ 0 w 580"/>
                <a:gd name="T61" fmla="*/ 152 h 458"/>
                <a:gd name="T62" fmla="*/ 0 w 580"/>
                <a:gd name="T63" fmla="*/ 439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80" h="458">
                  <a:moveTo>
                    <a:pt x="411" y="213"/>
                  </a:moveTo>
                  <a:cubicBezTo>
                    <a:pt x="570" y="37"/>
                    <a:pt x="570" y="37"/>
                    <a:pt x="570" y="37"/>
                  </a:cubicBezTo>
                  <a:cubicBezTo>
                    <a:pt x="576" y="30"/>
                    <a:pt x="580" y="25"/>
                    <a:pt x="580" y="20"/>
                  </a:cubicBezTo>
                  <a:cubicBezTo>
                    <a:pt x="580" y="10"/>
                    <a:pt x="559" y="0"/>
                    <a:pt x="545" y="0"/>
                  </a:cubicBezTo>
                  <a:cubicBezTo>
                    <a:pt x="535" y="0"/>
                    <a:pt x="526" y="8"/>
                    <a:pt x="519" y="16"/>
                  </a:cubicBezTo>
                  <a:cubicBezTo>
                    <a:pt x="344" y="210"/>
                    <a:pt x="344" y="210"/>
                    <a:pt x="344" y="210"/>
                  </a:cubicBezTo>
                  <a:cubicBezTo>
                    <a:pt x="336" y="219"/>
                    <a:pt x="334" y="224"/>
                    <a:pt x="334" y="229"/>
                  </a:cubicBezTo>
                  <a:cubicBezTo>
                    <a:pt x="334" y="234"/>
                    <a:pt x="336" y="239"/>
                    <a:pt x="344" y="248"/>
                  </a:cubicBezTo>
                  <a:cubicBezTo>
                    <a:pt x="519" y="442"/>
                    <a:pt x="519" y="442"/>
                    <a:pt x="519" y="442"/>
                  </a:cubicBezTo>
                  <a:cubicBezTo>
                    <a:pt x="526" y="450"/>
                    <a:pt x="535" y="458"/>
                    <a:pt x="545" y="458"/>
                  </a:cubicBezTo>
                  <a:cubicBezTo>
                    <a:pt x="559" y="458"/>
                    <a:pt x="580" y="448"/>
                    <a:pt x="580" y="438"/>
                  </a:cubicBezTo>
                  <a:cubicBezTo>
                    <a:pt x="580" y="433"/>
                    <a:pt x="576" y="428"/>
                    <a:pt x="570" y="421"/>
                  </a:cubicBezTo>
                  <a:cubicBezTo>
                    <a:pt x="411" y="245"/>
                    <a:pt x="411" y="245"/>
                    <a:pt x="411" y="245"/>
                  </a:cubicBezTo>
                  <a:cubicBezTo>
                    <a:pt x="403" y="236"/>
                    <a:pt x="399" y="232"/>
                    <a:pt x="399" y="229"/>
                  </a:cubicBezTo>
                  <a:cubicBezTo>
                    <a:pt x="399" y="226"/>
                    <a:pt x="403" y="222"/>
                    <a:pt x="411" y="213"/>
                  </a:cubicBezTo>
                  <a:moveTo>
                    <a:pt x="252" y="439"/>
                  </a:moveTo>
                  <a:cubicBezTo>
                    <a:pt x="252" y="449"/>
                    <a:pt x="261" y="454"/>
                    <a:pt x="281" y="454"/>
                  </a:cubicBezTo>
                  <a:cubicBezTo>
                    <a:pt x="300" y="454"/>
                    <a:pt x="309" y="449"/>
                    <a:pt x="309" y="439"/>
                  </a:cubicBezTo>
                  <a:cubicBezTo>
                    <a:pt x="309" y="19"/>
                    <a:pt x="309" y="19"/>
                    <a:pt x="309" y="19"/>
                  </a:cubicBezTo>
                  <a:cubicBezTo>
                    <a:pt x="309" y="9"/>
                    <a:pt x="300" y="4"/>
                    <a:pt x="281" y="4"/>
                  </a:cubicBezTo>
                  <a:cubicBezTo>
                    <a:pt x="261" y="4"/>
                    <a:pt x="252" y="9"/>
                    <a:pt x="252" y="19"/>
                  </a:cubicBezTo>
                  <a:lnTo>
                    <a:pt x="252" y="439"/>
                  </a:lnTo>
                  <a:close/>
                  <a:moveTo>
                    <a:pt x="0" y="439"/>
                  </a:moveTo>
                  <a:cubicBezTo>
                    <a:pt x="0" y="449"/>
                    <a:pt x="8" y="454"/>
                    <a:pt x="28" y="454"/>
                  </a:cubicBezTo>
                  <a:cubicBezTo>
                    <a:pt x="48" y="454"/>
                    <a:pt x="56" y="449"/>
                    <a:pt x="56" y="439"/>
                  </a:cubicBezTo>
                  <a:cubicBezTo>
                    <a:pt x="56" y="157"/>
                    <a:pt x="56" y="157"/>
                    <a:pt x="56" y="157"/>
                  </a:cubicBezTo>
                  <a:cubicBezTo>
                    <a:pt x="56" y="83"/>
                    <a:pt x="85" y="53"/>
                    <a:pt x="165" y="53"/>
                  </a:cubicBezTo>
                  <a:cubicBezTo>
                    <a:pt x="180" y="53"/>
                    <a:pt x="180" y="53"/>
                    <a:pt x="180" y="53"/>
                  </a:cubicBezTo>
                  <a:cubicBezTo>
                    <a:pt x="192" y="53"/>
                    <a:pt x="196" y="43"/>
                    <a:pt x="196" y="27"/>
                  </a:cubicBezTo>
                  <a:cubicBezTo>
                    <a:pt x="196" y="8"/>
                    <a:pt x="185" y="4"/>
                    <a:pt x="154" y="4"/>
                  </a:cubicBezTo>
                  <a:cubicBezTo>
                    <a:pt x="64" y="4"/>
                    <a:pt x="0" y="43"/>
                    <a:pt x="0" y="152"/>
                  </a:cubicBezTo>
                  <a:lnTo>
                    <a:pt x="0" y="4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2B91B16B-BC11-E547-8FAC-B9B8D18EA449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0" y="1704"/>
              <a:ext cx="618" cy="916"/>
            </a:xfrm>
            <a:custGeom>
              <a:avLst/>
              <a:gdLst>
                <a:gd name="T0" fmla="*/ 307 w 307"/>
                <a:gd name="T1" fmla="*/ 405 h 455"/>
                <a:gd name="T2" fmla="*/ 307 w 307"/>
                <a:gd name="T3" fmla="*/ 244 h 455"/>
                <a:gd name="T4" fmla="*/ 279 w 307"/>
                <a:gd name="T5" fmla="*/ 229 h 455"/>
                <a:gd name="T6" fmla="*/ 250 w 307"/>
                <a:gd name="T7" fmla="*/ 244 h 455"/>
                <a:gd name="T8" fmla="*/ 250 w 307"/>
                <a:gd name="T9" fmla="*/ 378 h 455"/>
                <a:gd name="T10" fmla="*/ 199 w 307"/>
                <a:gd name="T11" fmla="*/ 408 h 455"/>
                <a:gd name="T12" fmla="*/ 61 w 307"/>
                <a:gd name="T13" fmla="*/ 231 h 455"/>
                <a:gd name="T14" fmla="*/ 238 w 307"/>
                <a:gd name="T15" fmla="*/ 49 h 455"/>
                <a:gd name="T16" fmla="*/ 270 w 307"/>
                <a:gd name="T17" fmla="*/ 49 h 455"/>
                <a:gd name="T18" fmla="*/ 286 w 307"/>
                <a:gd name="T19" fmla="*/ 23 h 455"/>
                <a:gd name="T20" fmla="*/ 244 w 307"/>
                <a:gd name="T21" fmla="*/ 0 h 455"/>
                <a:gd name="T22" fmla="*/ 231 w 307"/>
                <a:gd name="T23" fmla="*/ 0 h 455"/>
                <a:gd name="T24" fmla="*/ 0 w 307"/>
                <a:gd name="T25" fmla="*/ 232 h 455"/>
                <a:gd name="T26" fmla="*/ 198 w 307"/>
                <a:gd name="T27" fmla="*/ 455 h 455"/>
                <a:gd name="T28" fmla="*/ 307 w 307"/>
                <a:gd name="T29" fmla="*/ 40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7" h="455">
                  <a:moveTo>
                    <a:pt x="307" y="405"/>
                  </a:moveTo>
                  <a:cubicBezTo>
                    <a:pt x="307" y="244"/>
                    <a:pt x="307" y="244"/>
                    <a:pt x="307" y="244"/>
                  </a:cubicBezTo>
                  <a:cubicBezTo>
                    <a:pt x="307" y="234"/>
                    <a:pt x="298" y="229"/>
                    <a:pt x="279" y="229"/>
                  </a:cubicBezTo>
                  <a:cubicBezTo>
                    <a:pt x="259" y="229"/>
                    <a:pt x="250" y="234"/>
                    <a:pt x="250" y="244"/>
                  </a:cubicBezTo>
                  <a:cubicBezTo>
                    <a:pt x="250" y="378"/>
                    <a:pt x="250" y="378"/>
                    <a:pt x="250" y="378"/>
                  </a:cubicBezTo>
                  <a:cubicBezTo>
                    <a:pt x="250" y="399"/>
                    <a:pt x="241" y="408"/>
                    <a:pt x="199" y="408"/>
                  </a:cubicBezTo>
                  <a:cubicBezTo>
                    <a:pt x="114" y="408"/>
                    <a:pt x="61" y="342"/>
                    <a:pt x="61" y="231"/>
                  </a:cubicBezTo>
                  <a:cubicBezTo>
                    <a:pt x="61" y="115"/>
                    <a:pt x="126" y="49"/>
                    <a:pt x="238" y="49"/>
                  </a:cubicBezTo>
                  <a:cubicBezTo>
                    <a:pt x="270" y="49"/>
                    <a:pt x="270" y="49"/>
                    <a:pt x="270" y="49"/>
                  </a:cubicBezTo>
                  <a:cubicBezTo>
                    <a:pt x="282" y="49"/>
                    <a:pt x="286" y="39"/>
                    <a:pt x="286" y="23"/>
                  </a:cubicBezTo>
                  <a:cubicBezTo>
                    <a:pt x="286" y="4"/>
                    <a:pt x="275" y="0"/>
                    <a:pt x="244" y="0"/>
                  </a:cubicBezTo>
                  <a:cubicBezTo>
                    <a:pt x="231" y="0"/>
                    <a:pt x="231" y="0"/>
                    <a:pt x="231" y="0"/>
                  </a:cubicBezTo>
                  <a:cubicBezTo>
                    <a:pt x="101" y="0"/>
                    <a:pt x="0" y="71"/>
                    <a:pt x="0" y="232"/>
                  </a:cubicBezTo>
                  <a:cubicBezTo>
                    <a:pt x="0" y="386"/>
                    <a:pt x="88" y="455"/>
                    <a:pt x="198" y="455"/>
                  </a:cubicBezTo>
                  <a:cubicBezTo>
                    <a:pt x="286" y="455"/>
                    <a:pt x="307" y="430"/>
                    <a:pt x="307" y="40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  <p:sp>
          <p:nvSpPr>
            <p:cNvPr id="18" name="Oval 11">
              <a:extLst>
                <a:ext uri="{FF2B5EF4-FFF2-40B4-BE49-F238E27FC236}">
                  <a16:creationId xmlns:a16="http://schemas.microsoft.com/office/drawing/2014/main" id="{14F8C3C8-4888-7646-B9B4-64EB46A1DA2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778" y="2099"/>
              <a:ext cx="122" cy="12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D79D01D1-4E3E-F34B-97D7-2D387E68746E}"/>
                </a:ext>
              </a:extLst>
            </p:cNvPr>
            <p:cNvSpPr>
              <a:spLocks/>
            </p:cNvSpPr>
            <p:nvPr/>
          </p:nvSpPr>
          <p:spPr bwMode="gray">
            <a:xfrm>
              <a:off x="4321" y="1029"/>
              <a:ext cx="648" cy="649"/>
            </a:xfrm>
            <a:custGeom>
              <a:avLst/>
              <a:gdLst>
                <a:gd name="T0" fmla="*/ 0 w 648"/>
                <a:gd name="T1" fmla="*/ 649 h 649"/>
                <a:gd name="T2" fmla="*/ 2 w 648"/>
                <a:gd name="T3" fmla="*/ 649 h 649"/>
                <a:gd name="T4" fmla="*/ 648 w 648"/>
                <a:gd name="T5" fmla="*/ 0 h 649"/>
                <a:gd name="T6" fmla="*/ 423 w 648"/>
                <a:gd name="T7" fmla="*/ 0 h 649"/>
                <a:gd name="T8" fmla="*/ 0 w 648"/>
                <a:gd name="T9" fmla="*/ 649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8" h="649">
                  <a:moveTo>
                    <a:pt x="0" y="649"/>
                  </a:moveTo>
                  <a:lnTo>
                    <a:pt x="2" y="649"/>
                  </a:lnTo>
                  <a:lnTo>
                    <a:pt x="648" y="0"/>
                  </a:lnTo>
                  <a:lnTo>
                    <a:pt x="423" y="0"/>
                  </a:lnTo>
                  <a:lnTo>
                    <a:pt x="0" y="6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46549898-6C52-B147-A8F6-A73FDBE6163B}"/>
                </a:ext>
              </a:extLst>
            </p:cNvPr>
            <p:cNvSpPr>
              <a:spLocks/>
            </p:cNvSpPr>
            <p:nvPr/>
          </p:nvSpPr>
          <p:spPr bwMode="gray">
            <a:xfrm>
              <a:off x="4321" y="1029"/>
              <a:ext cx="648" cy="649"/>
            </a:xfrm>
            <a:custGeom>
              <a:avLst/>
              <a:gdLst>
                <a:gd name="T0" fmla="*/ 0 w 648"/>
                <a:gd name="T1" fmla="*/ 649 h 649"/>
                <a:gd name="T2" fmla="*/ 2 w 648"/>
                <a:gd name="T3" fmla="*/ 649 h 649"/>
                <a:gd name="T4" fmla="*/ 648 w 648"/>
                <a:gd name="T5" fmla="*/ 0 h 649"/>
                <a:gd name="T6" fmla="*/ 423 w 648"/>
                <a:gd name="T7" fmla="*/ 0 h 649"/>
                <a:gd name="T8" fmla="*/ 0 w 648"/>
                <a:gd name="T9" fmla="*/ 649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8" h="649">
                  <a:moveTo>
                    <a:pt x="0" y="649"/>
                  </a:moveTo>
                  <a:lnTo>
                    <a:pt x="2" y="649"/>
                  </a:lnTo>
                  <a:lnTo>
                    <a:pt x="648" y="0"/>
                  </a:lnTo>
                  <a:lnTo>
                    <a:pt x="423" y="0"/>
                  </a:lnTo>
                  <a:lnTo>
                    <a:pt x="0" y="64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</p:grpSp>
    </p:spTree>
    <p:extLst>
      <p:ext uri="{BB962C8B-B14F-4D97-AF65-F5344CB8AC3E}">
        <p14:creationId xmlns:p14="http://schemas.microsoft.com/office/powerpoint/2010/main" val="253895319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Gruppieren 5"/>
          <p:cNvGrpSpPr/>
          <p:nvPr userDrawn="1"/>
        </p:nvGrpSpPr>
        <p:grpSpPr bwMode="gray">
          <a:xfrm>
            <a:off x="-432907" y="-315520"/>
            <a:ext cx="13057813" cy="7489040"/>
            <a:chOff x="-324680" y="-315520"/>
            <a:chExt cx="9793360" cy="7489040"/>
          </a:xfrm>
        </p:grpSpPr>
        <p:grpSp>
          <p:nvGrpSpPr>
            <p:cNvPr id="7" name="Gruppieren 6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7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8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uppieren 9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5" name="Title 64"/>
          <p:cNvSpPr>
            <a:spLocks noGrp="1"/>
          </p:cNvSpPr>
          <p:nvPr>
            <p:ph type="title" hasCustomPrompt="1"/>
          </p:nvPr>
        </p:nvSpPr>
        <p:spPr bwMode="gray">
          <a:xfrm>
            <a:off x="431800" y="1123951"/>
            <a:ext cx="11328829" cy="2665413"/>
          </a:xfrm>
        </p:spPr>
        <p:txBody>
          <a:bodyPr/>
          <a:lstStyle>
            <a:lvl1pPr>
              <a:defRPr sz="5067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31799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32000" y="3284537"/>
            <a:ext cx="1728192" cy="201672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192012" y="3284537"/>
            <a:ext cx="1728192" cy="201672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351587" y="4653189"/>
            <a:ext cx="36484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351584" y="4221141"/>
            <a:ext cx="3648405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351584" y="3284538"/>
            <a:ext cx="3648405" cy="93660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351584" y="4869212"/>
            <a:ext cx="3648405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351690" y="5085237"/>
            <a:ext cx="3648301" cy="21501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8112224" y="4653190"/>
            <a:ext cx="3648405" cy="21602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12224" y="4221141"/>
            <a:ext cx="3648405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8112224" y="3284538"/>
            <a:ext cx="3648405" cy="93660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8112224" y="4869212"/>
            <a:ext cx="3648405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8112224" y="5085236"/>
            <a:ext cx="3648405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703353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431800" y="2205037"/>
            <a:ext cx="1727200" cy="2016051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5" name="Picture Placehold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93367" y="2205037"/>
            <a:ext cx="1727200" cy="2016051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351481" y="3573018"/>
            <a:ext cx="3649271" cy="21602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US" dirty="0"/>
              <a:t>[phone number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351584" y="3140968"/>
            <a:ext cx="3649165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2351584" y="2205039"/>
            <a:ext cx="3648405" cy="93593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351585" y="3789040"/>
            <a:ext cx="3649167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351690" y="4005064"/>
            <a:ext cx="3648301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112224" y="3573017"/>
            <a:ext cx="3648405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112224" y="3140968"/>
            <a:ext cx="3648405" cy="21676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112224" y="2205039"/>
            <a:ext cx="3648405" cy="93593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8112224" y="3789040"/>
            <a:ext cx="3648405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8112224" y="4005064"/>
            <a:ext cx="3648405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431371" y="4365626"/>
            <a:ext cx="1727200" cy="2015703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57" name="Picture Placehold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6192937" y="4365626"/>
            <a:ext cx="1727200" cy="2015703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2351584" y="5733734"/>
            <a:ext cx="3649165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2351584" y="5301209"/>
            <a:ext cx="3648405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2351584" y="4365625"/>
            <a:ext cx="3648405" cy="93558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2351584" y="5949238"/>
            <a:ext cx="3649165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62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2351584" y="6164741"/>
            <a:ext cx="3649165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112224" y="5733745"/>
            <a:ext cx="3648405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112224" y="5301209"/>
            <a:ext cx="3648405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112224" y="4365625"/>
            <a:ext cx="3648405" cy="93558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112224" y="5949247"/>
            <a:ext cx="3648405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8112224" y="6164750"/>
            <a:ext cx="3648405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kumimoji="0" lang="en-US" sz="26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264516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431371" y="1123951"/>
            <a:ext cx="11329259" cy="2665413"/>
          </a:xfrm>
        </p:spPr>
        <p:txBody>
          <a:bodyPr anchor="b"/>
          <a:lstStyle>
            <a:lvl1pPr>
              <a:defRPr sz="5067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/>
              <a:t>Click to add tex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371" y="6237312"/>
            <a:ext cx="11329259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text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432907" y="-315520"/>
            <a:ext cx="13057813" cy="7489040"/>
            <a:chOff x="-324680" y="-315520"/>
            <a:chExt cx="9793360" cy="7489040"/>
          </a:xfrm>
        </p:grpSpPr>
        <p:grpSp>
          <p:nvGrpSpPr>
            <p:cNvPr id="7" name="Gruppieren 6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7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8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uppieren 9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6" name="Text Placehold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371" y="6021288"/>
            <a:ext cx="11329259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22232269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31800" y="2372784"/>
            <a:ext cx="11328401" cy="1344257"/>
          </a:xfrm>
        </p:spPr>
        <p:txBody>
          <a:bodyPr anchor="b"/>
          <a:lstStyle>
            <a:lvl1pPr>
              <a:defRPr sz="48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1799" y="3813054"/>
            <a:ext cx="11328403" cy="1535764"/>
          </a:xfrm>
        </p:spPr>
        <p:txBody>
          <a:bodyPr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800" y="6117413"/>
            <a:ext cx="11328400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5848332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4" y="1220694"/>
            <a:ext cx="11329573" cy="3840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 bwMode="gray">
          <a:xfrm>
            <a:off x="431214" y="1700760"/>
            <a:ext cx="3647604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4271746" y="1701800"/>
            <a:ext cx="3648508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 bwMode="gray">
          <a:xfrm>
            <a:off x="8112280" y="1701800"/>
            <a:ext cx="3648507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4281979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431215" y="1316568"/>
            <a:ext cx="11329573" cy="2592917"/>
          </a:xfrm>
        </p:spPr>
        <p:txBody>
          <a:bodyPr anchor="b"/>
          <a:lstStyle>
            <a:lvl1pPr>
              <a:defRPr sz="5067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Eindslide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372" y="6309408"/>
            <a:ext cx="11329259" cy="28803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err="1"/>
              <a:t>Tekst</a:t>
            </a:r>
            <a:endParaRPr lang="en-US" noProof="0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372" y="6021376"/>
            <a:ext cx="11329259" cy="28803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err="1"/>
              <a:t>Teks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026673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 bwMode="gray">
          <a:xfrm>
            <a:off x="431213" y="1700760"/>
            <a:ext cx="11328987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4" y="1220695"/>
            <a:ext cx="11329573" cy="38405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4" y="6404736"/>
            <a:ext cx="11328557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0978297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453189"/>
            <a:ext cx="11328400" cy="144463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67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0"/>
              </a:spcAft>
              <a:buNone/>
              <a:defRPr sz="12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829022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text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405033"/>
            <a:ext cx="11328400" cy="192616"/>
          </a:xfrm>
        </p:spPr>
        <p:txBody>
          <a:bodyPr tIns="0" bIns="36000" anchor="b" anchorCtr="0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67">
                <a:solidFill>
                  <a:schemeClr val="tx1"/>
                </a:solidFill>
              </a:defRPr>
            </a:lvl1pPr>
            <a:lvl2pPr marL="0" indent="0">
              <a:spcBef>
                <a:spcPts val="400"/>
              </a:spcBef>
              <a:spcAft>
                <a:spcPts val="0"/>
              </a:spcAft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0"/>
              </a:spcAft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0"/>
              </a:spcAft>
              <a:buNone/>
              <a:defRPr sz="1200" b="0">
                <a:solidFill>
                  <a:schemeClr val="bg2"/>
                </a:solidFill>
              </a:defRPr>
            </a:lvl5pPr>
            <a:lvl6pPr marL="0" indent="0">
              <a:spcBef>
                <a:spcPts val="400"/>
              </a:spcBef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400"/>
              </a:spcBef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400"/>
              </a:spcBef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400"/>
              </a:spcBef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12383948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20"/>
          <p:cNvSpPr>
            <a:spLocks noGrp="1"/>
          </p:cNvSpPr>
          <p:nvPr>
            <p:ph type="dt" sz="half" idx="14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/>
          <a:p>
            <a:fld id="{7DCAAD07-09FD-49C1-9253-3DC58F499B21}" type="datetime5">
              <a:rPr lang="en-US" smtClean="0"/>
              <a:t>18-Nov-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5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F3E29E4-0979-4FCA-B4C5-5FC6044C982A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slide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1075061" y="964671"/>
            <a:ext cx="7910158" cy="490042"/>
          </a:xfrm>
        </p:spPr>
        <p:txBody>
          <a:bodyPr wrap="none"/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75063" y="6307665"/>
            <a:ext cx="8162717" cy="133200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3pPr>
            <a:lvl4pPr marL="0" algn="l">
              <a:lnSpc>
                <a:spcPct val="100000"/>
              </a:lnSpc>
              <a:spcBef>
                <a:spcPts val="0"/>
              </a:spcBef>
              <a:buNone/>
              <a:defRPr sz="8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dirty="0"/>
              <a:t>Source 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61102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20"/>
          <p:cNvSpPr>
            <a:spLocks noGrp="1"/>
          </p:cNvSpPr>
          <p:nvPr>
            <p:ph type="dt" sz="half" idx="14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/>
          <a:p>
            <a:fld id="{4CC19292-71B2-4BF0-8023-C669B9188137}" type="datetime5">
              <a:rPr lang="en-US" smtClean="0"/>
              <a:t>18-Nov-19</a:t>
            </a:fld>
            <a:endParaRPr lang="en-US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5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F3E29E4-0979-4FCA-B4C5-5FC6044C982A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slide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1075061" y="964671"/>
            <a:ext cx="7910158" cy="490042"/>
          </a:xfrm>
        </p:spPr>
        <p:txBody>
          <a:bodyPr wrap="none"/>
          <a:lstStyle>
            <a:lvl1pPr marL="0" indent="0" algn="l">
              <a:spcBef>
                <a:spcPts val="0"/>
              </a:spcBef>
              <a:buNone/>
              <a:defRPr sz="24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to add text or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75063" y="6307665"/>
            <a:ext cx="8162717" cy="133200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3pPr>
            <a:lvl4pPr marL="0" algn="l">
              <a:lnSpc>
                <a:spcPct val="100000"/>
              </a:lnSpc>
              <a:spcBef>
                <a:spcPts val="0"/>
              </a:spcBef>
              <a:buNone/>
              <a:defRPr sz="8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dirty="0"/>
              <a:t>Source 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94620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 Placeholder 20"/>
          <p:cNvSpPr>
            <a:spLocks noGrp="1"/>
          </p:cNvSpPr>
          <p:nvPr>
            <p:ph type="dt" sz="half" idx="14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/>
          <a:p>
            <a:fld id="{97AF90B7-6970-4C8C-AA59-7302F717A183}" type="datetime5">
              <a:rPr lang="en-US" smtClean="0"/>
              <a:t>18-Nov-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5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F3E29E4-0979-4FCA-B4C5-5FC6044C982A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slide tit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1075061" y="964671"/>
            <a:ext cx="7910158" cy="490042"/>
          </a:xfrm>
        </p:spPr>
        <p:txBody>
          <a:bodyPr wrap="none"/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75062" y="1629618"/>
            <a:ext cx="5220000" cy="413935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 or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6600525" y="1637783"/>
            <a:ext cx="5220000" cy="4599506"/>
          </a:xfrm>
          <a:solidFill>
            <a:srgbClr val="D9DADB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075063" y="6307665"/>
            <a:ext cx="8162717" cy="133200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aseline="0"/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3pPr>
            <a:lvl4pPr marL="0" algn="l">
              <a:lnSpc>
                <a:spcPct val="100000"/>
              </a:lnSpc>
              <a:spcBef>
                <a:spcPts val="0"/>
              </a:spcBef>
              <a:buNone/>
              <a:defRPr sz="800"/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dirty="0"/>
              <a:t>Source 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98949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D9DADB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9" name="copyright"/>
          <p:cNvSpPr txBox="1"/>
          <p:nvPr/>
        </p:nvSpPr>
        <p:spPr>
          <a:xfrm>
            <a:off x="10672209" y="6237288"/>
            <a:ext cx="500617" cy="358173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marL="0" indent="0" algn="r">
              <a:lnSpc>
                <a:spcPct val="125000"/>
              </a:lnSpc>
              <a:buClr>
                <a:schemeClr val="tx2"/>
              </a:buClr>
              <a:buFont typeface="Wingdings" panose="05000000000000000000" pitchFamily="2" charset="2"/>
              <a:buNone/>
            </a:pPr>
            <a:r>
              <a:rPr lang="en-US" sz="800" dirty="0">
                <a:solidFill>
                  <a:schemeClr val="bg1"/>
                </a:solidFill>
              </a:rPr>
              <a:t>© GfK</a:t>
            </a:r>
          </a:p>
        </p:txBody>
      </p:sp>
      <p:sp>
        <p:nvSpPr>
          <p:cNvPr id="21" name="Date Placeholder 20"/>
          <p:cNvSpPr>
            <a:spLocks noGrp="1"/>
          </p:cNvSpPr>
          <p:nvPr>
            <p:ph type="dt" sz="half" idx="14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0FDD96B-8754-4910-8CA2-9F882EDC331D}" type="datetime5">
              <a:rPr lang="en-US" smtClean="0"/>
              <a:t>18-Nov-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5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3E29E4-0979-4FCA-B4C5-5FC6044C982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43675" y="1519552"/>
            <a:ext cx="4629150" cy="424942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075063" y="6307665"/>
            <a:ext cx="8162717" cy="133200"/>
          </a:xfr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ource lin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17332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tags" Target="../tags/tag13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tags" Target="../tags/tag12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logo">
            <a:extLst>
              <a:ext uri="{FF2B5EF4-FFF2-40B4-BE49-F238E27FC236}">
                <a16:creationId xmlns:a16="http://schemas.microsoft.com/office/drawing/2014/main" id="{57BD2C4C-DC67-B843-B26C-309622FC75F7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174018" y="401441"/>
            <a:ext cx="644225" cy="646507"/>
            <a:chOff x="2711" y="1027"/>
            <a:chExt cx="2258" cy="2266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FE1DC41B-291E-574C-9F2C-874E70A4075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gray">
            <a:xfrm>
              <a:off x="2711" y="1027"/>
              <a:ext cx="2258" cy="22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4B633C8-F761-C54B-9BD2-EB59D49A2DB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9" y="1029"/>
              <a:ext cx="2260" cy="2262"/>
            </a:xfrm>
            <a:custGeom>
              <a:avLst/>
              <a:gdLst>
                <a:gd name="T0" fmla="*/ 2260 w 2260"/>
                <a:gd name="T1" fmla="*/ 0 h 2262"/>
                <a:gd name="T2" fmla="*/ 1612 w 2260"/>
                <a:gd name="T3" fmla="*/ 649 h 2262"/>
                <a:gd name="T4" fmla="*/ 1612 w 2260"/>
                <a:gd name="T5" fmla="*/ 649 h 2262"/>
                <a:gd name="T6" fmla="*/ 2035 w 2260"/>
                <a:gd name="T7" fmla="*/ 0 h 2262"/>
                <a:gd name="T8" fmla="*/ 0 w 2260"/>
                <a:gd name="T9" fmla="*/ 0 h 2262"/>
                <a:gd name="T10" fmla="*/ 0 w 2260"/>
                <a:gd name="T11" fmla="*/ 2262 h 2262"/>
                <a:gd name="T12" fmla="*/ 2260 w 2260"/>
                <a:gd name="T13" fmla="*/ 2262 h 2262"/>
                <a:gd name="T14" fmla="*/ 2260 w 2260"/>
                <a:gd name="T15" fmla="*/ 0 h 2262"/>
                <a:gd name="T16" fmla="*/ 2260 w 2260"/>
                <a:gd name="T17" fmla="*/ 0 h 2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60" h="2262">
                  <a:moveTo>
                    <a:pt x="2260" y="0"/>
                  </a:moveTo>
                  <a:lnTo>
                    <a:pt x="1612" y="649"/>
                  </a:lnTo>
                  <a:lnTo>
                    <a:pt x="1612" y="649"/>
                  </a:lnTo>
                  <a:lnTo>
                    <a:pt x="2035" y="0"/>
                  </a:lnTo>
                  <a:lnTo>
                    <a:pt x="0" y="0"/>
                  </a:lnTo>
                  <a:lnTo>
                    <a:pt x="0" y="2262"/>
                  </a:lnTo>
                  <a:lnTo>
                    <a:pt x="2260" y="2262"/>
                  </a:lnTo>
                  <a:lnTo>
                    <a:pt x="2260" y="0"/>
                  </a:lnTo>
                  <a:lnTo>
                    <a:pt x="2260" y="0"/>
                  </a:lnTo>
                  <a:close/>
                </a:path>
              </a:pathLst>
            </a:custGeom>
            <a:solidFill>
              <a:srgbClr val="E55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B16BAAE4-1A41-C843-9754-490F7A1E127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623" y="1696"/>
              <a:ext cx="1167" cy="922"/>
            </a:xfrm>
            <a:custGeom>
              <a:avLst/>
              <a:gdLst>
                <a:gd name="T0" fmla="*/ 411 w 580"/>
                <a:gd name="T1" fmla="*/ 213 h 458"/>
                <a:gd name="T2" fmla="*/ 570 w 580"/>
                <a:gd name="T3" fmla="*/ 37 h 458"/>
                <a:gd name="T4" fmla="*/ 580 w 580"/>
                <a:gd name="T5" fmla="*/ 20 h 458"/>
                <a:gd name="T6" fmla="*/ 545 w 580"/>
                <a:gd name="T7" fmla="*/ 0 h 458"/>
                <a:gd name="T8" fmla="*/ 519 w 580"/>
                <a:gd name="T9" fmla="*/ 16 h 458"/>
                <a:gd name="T10" fmla="*/ 344 w 580"/>
                <a:gd name="T11" fmla="*/ 210 h 458"/>
                <a:gd name="T12" fmla="*/ 334 w 580"/>
                <a:gd name="T13" fmla="*/ 229 h 458"/>
                <a:gd name="T14" fmla="*/ 344 w 580"/>
                <a:gd name="T15" fmla="*/ 248 h 458"/>
                <a:gd name="T16" fmla="*/ 519 w 580"/>
                <a:gd name="T17" fmla="*/ 442 h 458"/>
                <a:gd name="T18" fmla="*/ 545 w 580"/>
                <a:gd name="T19" fmla="*/ 458 h 458"/>
                <a:gd name="T20" fmla="*/ 580 w 580"/>
                <a:gd name="T21" fmla="*/ 438 h 458"/>
                <a:gd name="T22" fmla="*/ 570 w 580"/>
                <a:gd name="T23" fmla="*/ 421 h 458"/>
                <a:gd name="T24" fmla="*/ 411 w 580"/>
                <a:gd name="T25" fmla="*/ 245 h 458"/>
                <a:gd name="T26" fmla="*/ 399 w 580"/>
                <a:gd name="T27" fmla="*/ 229 h 458"/>
                <a:gd name="T28" fmla="*/ 411 w 580"/>
                <a:gd name="T29" fmla="*/ 213 h 458"/>
                <a:gd name="T30" fmla="*/ 252 w 580"/>
                <a:gd name="T31" fmla="*/ 439 h 458"/>
                <a:gd name="T32" fmla="*/ 281 w 580"/>
                <a:gd name="T33" fmla="*/ 454 h 458"/>
                <a:gd name="T34" fmla="*/ 309 w 580"/>
                <a:gd name="T35" fmla="*/ 439 h 458"/>
                <a:gd name="T36" fmla="*/ 309 w 580"/>
                <a:gd name="T37" fmla="*/ 19 h 458"/>
                <a:gd name="T38" fmla="*/ 281 w 580"/>
                <a:gd name="T39" fmla="*/ 4 h 458"/>
                <a:gd name="T40" fmla="*/ 252 w 580"/>
                <a:gd name="T41" fmla="*/ 19 h 458"/>
                <a:gd name="T42" fmla="*/ 252 w 580"/>
                <a:gd name="T43" fmla="*/ 439 h 458"/>
                <a:gd name="T44" fmla="*/ 0 w 580"/>
                <a:gd name="T45" fmla="*/ 439 h 458"/>
                <a:gd name="T46" fmla="*/ 28 w 580"/>
                <a:gd name="T47" fmla="*/ 454 h 458"/>
                <a:gd name="T48" fmla="*/ 56 w 580"/>
                <a:gd name="T49" fmla="*/ 439 h 458"/>
                <a:gd name="T50" fmla="*/ 56 w 580"/>
                <a:gd name="T51" fmla="*/ 157 h 458"/>
                <a:gd name="T52" fmla="*/ 165 w 580"/>
                <a:gd name="T53" fmla="*/ 53 h 458"/>
                <a:gd name="T54" fmla="*/ 180 w 580"/>
                <a:gd name="T55" fmla="*/ 53 h 458"/>
                <a:gd name="T56" fmla="*/ 196 w 580"/>
                <a:gd name="T57" fmla="*/ 27 h 458"/>
                <a:gd name="T58" fmla="*/ 154 w 580"/>
                <a:gd name="T59" fmla="*/ 4 h 458"/>
                <a:gd name="T60" fmla="*/ 0 w 580"/>
                <a:gd name="T61" fmla="*/ 152 h 458"/>
                <a:gd name="T62" fmla="*/ 0 w 580"/>
                <a:gd name="T63" fmla="*/ 439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80" h="458">
                  <a:moveTo>
                    <a:pt x="411" y="213"/>
                  </a:moveTo>
                  <a:cubicBezTo>
                    <a:pt x="570" y="37"/>
                    <a:pt x="570" y="37"/>
                    <a:pt x="570" y="37"/>
                  </a:cubicBezTo>
                  <a:cubicBezTo>
                    <a:pt x="576" y="30"/>
                    <a:pt x="580" y="25"/>
                    <a:pt x="580" y="20"/>
                  </a:cubicBezTo>
                  <a:cubicBezTo>
                    <a:pt x="580" y="10"/>
                    <a:pt x="559" y="0"/>
                    <a:pt x="545" y="0"/>
                  </a:cubicBezTo>
                  <a:cubicBezTo>
                    <a:pt x="535" y="0"/>
                    <a:pt x="526" y="8"/>
                    <a:pt x="519" y="16"/>
                  </a:cubicBezTo>
                  <a:cubicBezTo>
                    <a:pt x="344" y="210"/>
                    <a:pt x="344" y="210"/>
                    <a:pt x="344" y="210"/>
                  </a:cubicBezTo>
                  <a:cubicBezTo>
                    <a:pt x="336" y="219"/>
                    <a:pt x="334" y="224"/>
                    <a:pt x="334" y="229"/>
                  </a:cubicBezTo>
                  <a:cubicBezTo>
                    <a:pt x="334" y="234"/>
                    <a:pt x="336" y="239"/>
                    <a:pt x="344" y="248"/>
                  </a:cubicBezTo>
                  <a:cubicBezTo>
                    <a:pt x="519" y="442"/>
                    <a:pt x="519" y="442"/>
                    <a:pt x="519" y="442"/>
                  </a:cubicBezTo>
                  <a:cubicBezTo>
                    <a:pt x="526" y="450"/>
                    <a:pt x="535" y="458"/>
                    <a:pt x="545" y="458"/>
                  </a:cubicBezTo>
                  <a:cubicBezTo>
                    <a:pt x="559" y="458"/>
                    <a:pt x="580" y="448"/>
                    <a:pt x="580" y="438"/>
                  </a:cubicBezTo>
                  <a:cubicBezTo>
                    <a:pt x="580" y="433"/>
                    <a:pt x="576" y="428"/>
                    <a:pt x="570" y="421"/>
                  </a:cubicBezTo>
                  <a:cubicBezTo>
                    <a:pt x="411" y="245"/>
                    <a:pt x="411" y="245"/>
                    <a:pt x="411" y="245"/>
                  </a:cubicBezTo>
                  <a:cubicBezTo>
                    <a:pt x="403" y="236"/>
                    <a:pt x="399" y="232"/>
                    <a:pt x="399" y="229"/>
                  </a:cubicBezTo>
                  <a:cubicBezTo>
                    <a:pt x="399" y="226"/>
                    <a:pt x="403" y="222"/>
                    <a:pt x="411" y="213"/>
                  </a:cubicBezTo>
                  <a:moveTo>
                    <a:pt x="252" y="439"/>
                  </a:moveTo>
                  <a:cubicBezTo>
                    <a:pt x="252" y="449"/>
                    <a:pt x="261" y="454"/>
                    <a:pt x="281" y="454"/>
                  </a:cubicBezTo>
                  <a:cubicBezTo>
                    <a:pt x="300" y="454"/>
                    <a:pt x="309" y="449"/>
                    <a:pt x="309" y="439"/>
                  </a:cubicBezTo>
                  <a:cubicBezTo>
                    <a:pt x="309" y="19"/>
                    <a:pt x="309" y="19"/>
                    <a:pt x="309" y="19"/>
                  </a:cubicBezTo>
                  <a:cubicBezTo>
                    <a:pt x="309" y="9"/>
                    <a:pt x="300" y="4"/>
                    <a:pt x="281" y="4"/>
                  </a:cubicBezTo>
                  <a:cubicBezTo>
                    <a:pt x="261" y="4"/>
                    <a:pt x="252" y="9"/>
                    <a:pt x="252" y="19"/>
                  </a:cubicBezTo>
                  <a:lnTo>
                    <a:pt x="252" y="439"/>
                  </a:lnTo>
                  <a:close/>
                  <a:moveTo>
                    <a:pt x="0" y="439"/>
                  </a:moveTo>
                  <a:cubicBezTo>
                    <a:pt x="0" y="449"/>
                    <a:pt x="8" y="454"/>
                    <a:pt x="28" y="454"/>
                  </a:cubicBezTo>
                  <a:cubicBezTo>
                    <a:pt x="48" y="454"/>
                    <a:pt x="56" y="449"/>
                    <a:pt x="56" y="439"/>
                  </a:cubicBezTo>
                  <a:cubicBezTo>
                    <a:pt x="56" y="157"/>
                    <a:pt x="56" y="157"/>
                    <a:pt x="56" y="157"/>
                  </a:cubicBezTo>
                  <a:cubicBezTo>
                    <a:pt x="56" y="83"/>
                    <a:pt x="85" y="53"/>
                    <a:pt x="165" y="53"/>
                  </a:cubicBezTo>
                  <a:cubicBezTo>
                    <a:pt x="180" y="53"/>
                    <a:pt x="180" y="53"/>
                    <a:pt x="180" y="53"/>
                  </a:cubicBezTo>
                  <a:cubicBezTo>
                    <a:pt x="192" y="53"/>
                    <a:pt x="196" y="43"/>
                    <a:pt x="196" y="27"/>
                  </a:cubicBezTo>
                  <a:cubicBezTo>
                    <a:pt x="196" y="8"/>
                    <a:pt x="185" y="4"/>
                    <a:pt x="154" y="4"/>
                  </a:cubicBezTo>
                  <a:cubicBezTo>
                    <a:pt x="64" y="4"/>
                    <a:pt x="0" y="43"/>
                    <a:pt x="0" y="152"/>
                  </a:cubicBezTo>
                  <a:lnTo>
                    <a:pt x="0" y="4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2F32DCBD-8628-F245-85CD-97686A20ECFD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0" y="1704"/>
              <a:ext cx="618" cy="916"/>
            </a:xfrm>
            <a:custGeom>
              <a:avLst/>
              <a:gdLst>
                <a:gd name="T0" fmla="*/ 307 w 307"/>
                <a:gd name="T1" fmla="*/ 405 h 455"/>
                <a:gd name="T2" fmla="*/ 307 w 307"/>
                <a:gd name="T3" fmla="*/ 244 h 455"/>
                <a:gd name="T4" fmla="*/ 279 w 307"/>
                <a:gd name="T5" fmla="*/ 229 h 455"/>
                <a:gd name="T6" fmla="*/ 250 w 307"/>
                <a:gd name="T7" fmla="*/ 244 h 455"/>
                <a:gd name="T8" fmla="*/ 250 w 307"/>
                <a:gd name="T9" fmla="*/ 378 h 455"/>
                <a:gd name="T10" fmla="*/ 199 w 307"/>
                <a:gd name="T11" fmla="*/ 408 h 455"/>
                <a:gd name="T12" fmla="*/ 61 w 307"/>
                <a:gd name="T13" fmla="*/ 231 h 455"/>
                <a:gd name="T14" fmla="*/ 238 w 307"/>
                <a:gd name="T15" fmla="*/ 49 h 455"/>
                <a:gd name="T16" fmla="*/ 270 w 307"/>
                <a:gd name="T17" fmla="*/ 49 h 455"/>
                <a:gd name="T18" fmla="*/ 286 w 307"/>
                <a:gd name="T19" fmla="*/ 23 h 455"/>
                <a:gd name="T20" fmla="*/ 244 w 307"/>
                <a:gd name="T21" fmla="*/ 0 h 455"/>
                <a:gd name="T22" fmla="*/ 231 w 307"/>
                <a:gd name="T23" fmla="*/ 0 h 455"/>
                <a:gd name="T24" fmla="*/ 0 w 307"/>
                <a:gd name="T25" fmla="*/ 232 h 455"/>
                <a:gd name="T26" fmla="*/ 198 w 307"/>
                <a:gd name="T27" fmla="*/ 455 h 455"/>
                <a:gd name="T28" fmla="*/ 307 w 307"/>
                <a:gd name="T29" fmla="*/ 40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7" h="455">
                  <a:moveTo>
                    <a:pt x="307" y="405"/>
                  </a:moveTo>
                  <a:cubicBezTo>
                    <a:pt x="307" y="244"/>
                    <a:pt x="307" y="244"/>
                    <a:pt x="307" y="244"/>
                  </a:cubicBezTo>
                  <a:cubicBezTo>
                    <a:pt x="307" y="234"/>
                    <a:pt x="298" y="229"/>
                    <a:pt x="279" y="229"/>
                  </a:cubicBezTo>
                  <a:cubicBezTo>
                    <a:pt x="259" y="229"/>
                    <a:pt x="250" y="234"/>
                    <a:pt x="250" y="244"/>
                  </a:cubicBezTo>
                  <a:cubicBezTo>
                    <a:pt x="250" y="378"/>
                    <a:pt x="250" y="378"/>
                    <a:pt x="250" y="378"/>
                  </a:cubicBezTo>
                  <a:cubicBezTo>
                    <a:pt x="250" y="399"/>
                    <a:pt x="241" y="408"/>
                    <a:pt x="199" y="408"/>
                  </a:cubicBezTo>
                  <a:cubicBezTo>
                    <a:pt x="114" y="408"/>
                    <a:pt x="61" y="342"/>
                    <a:pt x="61" y="231"/>
                  </a:cubicBezTo>
                  <a:cubicBezTo>
                    <a:pt x="61" y="115"/>
                    <a:pt x="126" y="49"/>
                    <a:pt x="238" y="49"/>
                  </a:cubicBezTo>
                  <a:cubicBezTo>
                    <a:pt x="270" y="49"/>
                    <a:pt x="270" y="49"/>
                    <a:pt x="270" y="49"/>
                  </a:cubicBezTo>
                  <a:cubicBezTo>
                    <a:pt x="282" y="49"/>
                    <a:pt x="286" y="39"/>
                    <a:pt x="286" y="23"/>
                  </a:cubicBezTo>
                  <a:cubicBezTo>
                    <a:pt x="286" y="4"/>
                    <a:pt x="275" y="0"/>
                    <a:pt x="244" y="0"/>
                  </a:cubicBezTo>
                  <a:cubicBezTo>
                    <a:pt x="231" y="0"/>
                    <a:pt x="231" y="0"/>
                    <a:pt x="231" y="0"/>
                  </a:cubicBezTo>
                  <a:cubicBezTo>
                    <a:pt x="101" y="0"/>
                    <a:pt x="0" y="71"/>
                    <a:pt x="0" y="232"/>
                  </a:cubicBezTo>
                  <a:cubicBezTo>
                    <a:pt x="0" y="386"/>
                    <a:pt x="88" y="455"/>
                    <a:pt x="198" y="455"/>
                  </a:cubicBezTo>
                  <a:cubicBezTo>
                    <a:pt x="286" y="455"/>
                    <a:pt x="307" y="430"/>
                    <a:pt x="307" y="40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  <p:sp>
          <p:nvSpPr>
            <p:cNvPr id="18" name="Oval 8">
              <a:extLst>
                <a:ext uri="{FF2B5EF4-FFF2-40B4-BE49-F238E27FC236}">
                  <a16:creationId xmlns:a16="http://schemas.microsoft.com/office/drawing/2014/main" id="{60D97C11-1A3B-5449-A48D-98A3E79B381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778" y="2099"/>
              <a:ext cx="122" cy="12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5856770D-B8F0-244E-A05D-AED190086F1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623" y="1696"/>
              <a:ext cx="1167" cy="922"/>
            </a:xfrm>
            <a:custGeom>
              <a:avLst/>
              <a:gdLst>
                <a:gd name="T0" fmla="*/ 411 w 580"/>
                <a:gd name="T1" fmla="*/ 213 h 458"/>
                <a:gd name="T2" fmla="*/ 570 w 580"/>
                <a:gd name="T3" fmla="*/ 37 h 458"/>
                <a:gd name="T4" fmla="*/ 580 w 580"/>
                <a:gd name="T5" fmla="*/ 20 h 458"/>
                <a:gd name="T6" fmla="*/ 545 w 580"/>
                <a:gd name="T7" fmla="*/ 0 h 458"/>
                <a:gd name="T8" fmla="*/ 519 w 580"/>
                <a:gd name="T9" fmla="*/ 16 h 458"/>
                <a:gd name="T10" fmla="*/ 344 w 580"/>
                <a:gd name="T11" fmla="*/ 210 h 458"/>
                <a:gd name="T12" fmla="*/ 334 w 580"/>
                <a:gd name="T13" fmla="*/ 229 h 458"/>
                <a:gd name="T14" fmla="*/ 344 w 580"/>
                <a:gd name="T15" fmla="*/ 248 h 458"/>
                <a:gd name="T16" fmla="*/ 519 w 580"/>
                <a:gd name="T17" fmla="*/ 442 h 458"/>
                <a:gd name="T18" fmla="*/ 545 w 580"/>
                <a:gd name="T19" fmla="*/ 458 h 458"/>
                <a:gd name="T20" fmla="*/ 580 w 580"/>
                <a:gd name="T21" fmla="*/ 438 h 458"/>
                <a:gd name="T22" fmla="*/ 570 w 580"/>
                <a:gd name="T23" fmla="*/ 421 h 458"/>
                <a:gd name="T24" fmla="*/ 411 w 580"/>
                <a:gd name="T25" fmla="*/ 245 h 458"/>
                <a:gd name="T26" fmla="*/ 399 w 580"/>
                <a:gd name="T27" fmla="*/ 229 h 458"/>
                <a:gd name="T28" fmla="*/ 411 w 580"/>
                <a:gd name="T29" fmla="*/ 213 h 458"/>
                <a:gd name="T30" fmla="*/ 252 w 580"/>
                <a:gd name="T31" fmla="*/ 439 h 458"/>
                <a:gd name="T32" fmla="*/ 281 w 580"/>
                <a:gd name="T33" fmla="*/ 454 h 458"/>
                <a:gd name="T34" fmla="*/ 309 w 580"/>
                <a:gd name="T35" fmla="*/ 439 h 458"/>
                <a:gd name="T36" fmla="*/ 309 w 580"/>
                <a:gd name="T37" fmla="*/ 19 h 458"/>
                <a:gd name="T38" fmla="*/ 281 w 580"/>
                <a:gd name="T39" fmla="*/ 4 h 458"/>
                <a:gd name="T40" fmla="*/ 252 w 580"/>
                <a:gd name="T41" fmla="*/ 19 h 458"/>
                <a:gd name="T42" fmla="*/ 252 w 580"/>
                <a:gd name="T43" fmla="*/ 439 h 458"/>
                <a:gd name="T44" fmla="*/ 0 w 580"/>
                <a:gd name="T45" fmla="*/ 439 h 458"/>
                <a:gd name="T46" fmla="*/ 28 w 580"/>
                <a:gd name="T47" fmla="*/ 454 h 458"/>
                <a:gd name="T48" fmla="*/ 56 w 580"/>
                <a:gd name="T49" fmla="*/ 439 h 458"/>
                <a:gd name="T50" fmla="*/ 56 w 580"/>
                <a:gd name="T51" fmla="*/ 157 h 458"/>
                <a:gd name="T52" fmla="*/ 165 w 580"/>
                <a:gd name="T53" fmla="*/ 53 h 458"/>
                <a:gd name="T54" fmla="*/ 180 w 580"/>
                <a:gd name="T55" fmla="*/ 53 h 458"/>
                <a:gd name="T56" fmla="*/ 196 w 580"/>
                <a:gd name="T57" fmla="*/ 27 h 458"/>
                <a:gd name="T58" fmla="*/ 154 w 580"/>
                <a:gd name="T59" fmla="*/ 4 h 458"/>
                <a:gd name="T60" fmla="*/ 0 w 580"/>
                <a:gd name="T61" fmla="*/ 152 h 458"/>
                <a:gd name="T62" fmla="*/ 0 w 580"/>
                <a:gd name="T63" fmla="*/ 439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80" h="458">
                  <a:moveTo>
                    <a:pt x="411" y="213"/>
                  </a:moveTo>
                  <a:cubicBezTo>
                    <a:pt x="570" y="37"/>
                    <a:pt x="570" y="37"/>
                    <a:pt x="570" y="37"/>
                  </a:cubicBezTo>
                  <a:cubicBezTo>
                    <a:pt x="576" y="30"/>
                    <a:pt x="580" y="25"/>
                    <a:pt x="580" y="20"/>
                  </a:cubicBezTo>
                  <a:cubicBezTo>
                    <a:pt x="580" y="10"/>
                    <a:pt x="559" y="0"/>
                    <a:pt x="545" y="0"/>
                  </a:cubicBezTo>
                  <a:cubicBezTo>
                    <a:pt x="535" y="0"/>
                    <a:pt x="526" y="8"/>
                    <a:pt x="519" y="16"/>
                  </a:cubicBezTo>
                  <a:cubicBezTo>
                    <a:pt x="344" y="210"/>
                    <a:pt x="344" y="210"/>
                    <a:pt x="344" y="210"/>
                  </a:cubicBezTo>
                  <a:cubicBezTo>
                    <a:pt x="336" y="219"/>
                    <a:pt x="334" y="224"/>
                    <a:pt x="334" y="229"/>
                  </a:cubicBezTo>
                  <a:cubicBezTo>
                    <a:pt x="334" y="234"/>
                    <a:pt x="336" y="239"/>
                    <a:pt x="344" y="248"/>
                  </a:cubicBezTo>
                  <a:cubicBezTo>
                    <a:pt x="519" y="442"/>
                    <a:pt x="519" y="442"/>
                    <a:pt x="519" y="442"/>
                  </a:cubicBezTo>
                  <a:cubicBezTo>
                    <a:pt x="526" y="450"/>
                    <a:pt x="535" y="458"/>
                    <a:pt x="545" y="458"/>
                  </a:cubicBezTo>
                  <a:cubicBezTo>
                    <a:pt x="559" y="458"/>
                    <a:pt x="580" y="448"/>
                    <a:pt x="580" y="438"/>
                  </a:cubicBezTo>
                  <a:cubicBezTo>
                    <a:pt x="580" y="433"/>
                    <a:pt x="576" y="428"/>
                    <a:pt x="570" y="421"/>
                  </a:cubicBezTo>
                  <a:cubicBezTo>
                    <a:pt x="411" y="245"/>
                    <a:pt x="411" y="245"/>
                    <a:pt x="411" y="245"/>
                  </a:cubicBezTo>
                  <a:cubicBezTo>
                    <a:pt x="403" y="236"/>
                    <a:pt x="399" y="232"/>
                    <a:pt x="399" y="229"/>
                  </a:cubicBezTo>
                  <a:cubicBezTo>
                    <a:pt x="399" y="226"/>
                    <a:pt x="403" y="222"/>
                    <a:pt x="411" y="213"/>
                  </a:cubicBezTo>
                  <a:moveTo>
                    <a:pt x="252" y="439"/>
                  </a:moveTo>
                  <a:cubicBezTo>
                    <a:pt x="252" y="449"/>
                    <a:pt x="261" y="454"/>
                    <a:pt x="281" y="454"/>
                  </a:cubicBezTo>
                  <a:cubicBezTo>
                    <a:pt x="300" y="454"/>
                    <a:pt x="309" y="449"/>
                    <a:pt x="309" y="439"/>
                  </a:cubicBezTo>
                  <a:cubicBezTo>
                    <a:pt x="309" y="19"/>
                    <a:pt x="309" y="19"/>
                    <a:pt x="309" y="19"/>
                  </a:cubicBezTo>
                  <a:cubicBezTo>
                    <a:pt x="309" y="9"/>
                    <a:pt x="300" y="4"/>
                    <a:pt x="281" y="4"/>
                  </a:cubicBezTo>
                  <a:cubicBezTo>
                    <a:pt x="261" y="4"/>
                    <a:pt x="252" y="9"/>
                    <a:pt x="252" y="19"/>
                  </a:cubicBezTo>
                  <a:lnTo>
                    <a:pt x="252" y="439"/>
                  </a:lnTo>
                  <a:close/>
                  <a:moveTo>
                    <a:pt x="0" y="439"/>
                  </a:moveTo>
                  <a:cubicBezTo>
                    <a:pt x="0" y="449"/>
                    <a:pt x="8" y="454"/>
                    <a:pt x="28" y="454"/>
                  </a:cubicBezTo>
                  <a:cubicBezTo>
                    <a:pt x="48" y="454"/>
                    <a:pt x="56" y="449"/>
                    <a:pt x="56" y="439"/>
                  </a:cubicBezTo>
                  <a:cubicBezTo>
                    <a:pt x="56" y="157"/>
                    <a:pt x="56" y="157"/>
                    <a:pt x="56" y="157"/>
                  </a:cubicBezTo>
                  <a:cubicBezTo>
                    <a:pt x="56" y="83"/>
                    <a:pt x="85" y="53"/>
                    <a:pt x="165" y="53"/>
                  </a:cubicBezTo>
                  <a:cubicBezTo>
                    <a:pt x="180" y="53"/>
                    <a:pt x="180" y="53"/>
                    <a:pt x="180" y="53"/>
                  </a:cubicBezTo>
                  <a:cubicBezTo>
                    <a:pt x="192" y="53"/>
                    <a:pt x="196" y="43"/>
                    <a:pt x="196" y="27"/>
                  </a:cubicBezTo>
                  <a:cubicBezTo>
                    <a:pt x="196" y="8"/>
                    <a:pt x="185" y="4"/>
                    <a:pt x="154" y="4"/>
                  </a:cubicBezTo>
                  <a:cubicBezTo>
                    <a:pt x="64" y="4"/>
                    <a:pt x="0" y="43"/>
                    <a:pt x="0" y="152"/>
                  </a:cubicBezTo>
                  <a:lnTo>
                    <a:pt x="0" y="43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2B91B16B-BC11-E547-8FAC-B9B8D18EA449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0" y="1704"/>
              <a:ext cx="618" cy="916"/>
            </a:xfrm>
            <a:custGeom>
              <a:avLst/>
              <a:gdLst>
                <a:gd name="T0" fmla="*/ 307 w 307"/>
                <a:gd name="T1" fmla="*/ 405 h 455"/>
                <a:gd name="T2" fmla="*/ 307 w 307"/>
                <a:gd name="T3" fmla="*/ 244 h 455"/>
                <a:gd name="T4" fmla="*/ 279 w 307"/>
                <a:gd name="T5" fmla="*/ 229 h 455"/>
                <a:gd name="T6" fmla="*/ 250 w 307"/>
                <a:gd name="T7" fmla="*/ 244 h 455"/>
                <a:gd name="T8" fmla="*/ 250 w 307"/>
                <a:gd name="T9" fmla="*/ 378 h 455"/>
                <a:gd name="T10" fmla="*/ 199 w 307"/>
                <a:gd name="T11" fmla="*/ 408 h 455"/>
                <a:gd name="T12" fmla="*/ 61 w 307"/>
                <a:gd name="T13" fmla="*/ 231 h 455"/>
                <a:gd name="T14" fmla="*/ 238 w 307"/>
                <a:gd name="T15" fmla="*/ 49 h 455"/>
                <a:gd name="T16" fmla="*/ 270 w 307"/>
                <a:gd name="T17" fmla="*/ 49 h 455"/>
                <a:gd name="T18" fmla="*/ 286 w 307"/>
                <a:gd name="T19" fmla="*/ 23 h 455"/>
                <a:gd name="T20" fmla="*/ 244 w 307"/>
                <a:gd name="T21" fmla="*/ 0 h 455"/>
                <a:gd name="T22" fmla="*/ 231 w 307"/>
                <a:gd name="T23" fmla="*/ 0 h 455"/>
                <a:gd name="T24" fmla="*/ 0 w 307"/>
                <a:gd name="T25" fmla="*/ 232 h 455"/>
                <a:gd name="T26" fmla="*/ 198 w 307"/>
                <a:gd name="T27" fmla="*/ 455 h 455"/>
                <a:gd name="T28" fmla="*/ 307 w 307"/>
                <a:gd name="T29" fmla="*/ 40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7" h="455">
                  <a:moveTo>
                    <a:pt x="307" y="405"/>
                  </a:moveTo>
                  <a:cubicBezTo>
                    <a:pt x="307" y="244"/>
                    <a:pt x="307" y="244"/>
                    <a:pt x="307" y="244"/>
                  </a:cubicBezTo>
                  <a:cubicBezTo>
                    <a:pt x="307" y="234"/>
                    <a:pt x="298" y="229"/>
                    <a:pt x="279" y="229"/>
                  </a:cubicBezTo>
                  <a:cubicBezTo>
                    <a:pt x="259" y="229"/>
                    <a:pt x="250" y="234"/>
                    <a:pt x="250" y="244"/>
                  </a:cubicBezTo>
                  <a:cubicBezTo>
                    <a:pt x="250" y="378"/>
                    <a:pt x="250" y="378"/>
                    <a:pt x="250" y="378"/>
                  </a:cubicBezTo>
                  <a:cubicBezTo>
                    <a:pt x="250" y="399"/>
                    <a:pt x="241" y="408"/>
                    <a:pt x="199" y="408"/>
                  </a:cubicBezTo>
                  <a:cubicBezTo>
                    <a:pt x="114" y="408"/>
                    <a:pt x="61" y="342"/>
                    <a:pt x="61" y="231"/>
                  </a:cubicBezTo>
                  <a:cubicBezTo>
                    <a:pt x="61" y="115"/>
                    <a:pt x="126" y="49"/>
                    <a:pt x="238" y="49"/>
                  </a:cubicBezTo>
                  <a:cubicBezTo>
                    <a:pt x="270" y="49"/>
                    <a:pt x="270" y="49"/>
                    <a:pt x="270" y="49"/>
                  </a:cubicBezTo>
                  <a:cubicBezTo>
                    <a:pt x="282" y="49"/>
                    <a:pt x="286" y="39"/>
                    <a:pt x="286" y="23"/>
                  </a:cubicBezTo>
                  <a:cubicBezTo>
                    <a:pt x="286" y="4"/>
                    <a:pt x="275" y="0"/>
                    <a:pt x="244" y="0"/>
                  </a:cubicBezTo>
                  <a:cubicBezTo>
                    <a:pt x="231" y="0"/>
                    <a:pt x="231" y="0"/>
                    <a:pt x="231" y="0"/>
                  </a:cubicBezTo>
                  <a:cubicBezTo>
                    <a:pt x="101" y="0"/>
                    <a:pt x="0" y="71"/>
                    <a:pt x="0" y="232"/>
                  </a:cubicBezTo>
                  <a:cubicBezTo>
                    <a:pt x="0" y="386"/>
                    <a:pt x="88" y="455"/>
                    <a:pt x="198" y="455"/>
                  </a:cubicBezTo>
                  <a:cubicBezTo>
                    <a:pt x="286" y="455"/>
                    <a:pt x="307" y="430"/>
                    <a:pt x="307" y="40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  <p:sp>
          <p:nvSpPr>
            <p:cNvPr id="23" name="Oval 11">
              <a:extLst>
                <a:ext uri="{FF2B5EF4-FFF2-40B4-BE49-F238E27FC236}">
                  <a16:creationId xmlns:a16="http://schemas.microsoft.com/office/drawing/2014/main" id="{14F8C3C8-4888-7646-B9B4-64EB46A1DA2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778" y="2099"/>
              <a:ext cx="122" cy="12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D79D01D1-4E3E-F34B-97D7-2D387E68746E}"/>
                </a:ext>
              </a:extLst>
            </p:cNvPr>
            <p:cNvSpPr>
              <a:spLocks/>
            </p:cNvSpPr>
            <p:nvPr/>
          </p:nvSpPr>
          <p:spPr bwMode="gray">
            <a:xfrm>
              <a:off x="4321" y="1029"/>
              <a:ext cx="648" cy="649"/>
            </a:xfrm>
            <a:custGeom>
              <a:avLst/>
              <a:gdLst>
                <a:gd name="T0" fmla="*/ 0 w 648"/>
                <a:gd name="T1" fmla="*/ 649 h 649"/>
                <a:gd name="T2" fmla="*/ 2 w 648"/>
                <a:gd name="T3" fmla="*/ 649 h 649"/>
                <a:gd name="T4" fmla="*/ 648 w 648"/>
                <a:gd name="T5" fmla="*/ 0 h 649"/>
                <a:gd name="T6" fmla="*/ 423 w 648"/>
                <a:gd name="T7" fmla="*/ 0 h 649"/>
                <a:gd name="T8" fmla="*/ 0 w 648"/>
                <a:gd name="T9" fmla="*/ 649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8" h="649">
                  <a:moveTo>
                    <a:pt x="0" y="649"/>
                  </a:moveTo>
                  <a:lnTo>
                    <a:pt x="2" y="649"/>
                  </a:lnTo>
                  <a:lnTo>
                    <a:pt x="648" y="0"/>
                  </a:lnTo>
                  <a:lnTo>
                    <a:pt x="423" y="0"/>
                  </a:lnTo>
                  <a:lnTo>
                    <a:pt x="0" y="6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46549898-6C52-B147-A8F6-A73FDBE6163B}"/>
                </a:ext>
              </a:extLst>
            </p:cNvPr>
            <p:cNvSpPr>
              <a:spLocks/>
            </p:cNvSpPr>
            <p:nvPr/>
          </p:nvSpPr>
          <p:spPr bwMode="gray">
            <a:xfrm>
              <a:off x="4321" y="1029"/>
              <a:ext cx="648" cy="649"/>
            </a:xfrm>
            <a:custGeom>
              <a:avLst/>
              <a:gdLst>
                <a:gd name="T0" fmla="*/ 0 w 648"/>
                <a:gd name="T1" fmla="*/ 649 h 649"/>
                <a:gd name="T2" fmla="*/ 2 w 648"/>
                <a:gd name="T3" fmla="*/ 649 h 649"/>
                <a:gd name="T4" fmla="*/ 648 w 648"/>
                <a:gd name="T5" fmla="*/ 0 h 649"/>
                <a:gd name="T6" fmla="*/ 423 w 648"/>
                <a:gd name="T7" fmla="*/ 0 h 649"/>
                <a:gd name="T8" fmla="*/ 0 w 648"/>
                <a:gd name="T9" fmla="*/ 649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8" h="649">
                  <a:moveTo>
                    <a:pt x="0" y="649"/>
                  </a:moveTo>
                  <a:lnTo>
                    <a:pt x="2" y="649"/>
                  </a:lnTo>
                  <a:lnTo>
                    <a:pt x="648" y="0"/>
                  </a:lnTo>
                  <a:lnTo>
                    <a:pt x="423" y="0"/>
                  </a:lnTo>
                  <a:lnTo>
                    <a:pt x="0" y="64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1" dirty="0"/>
            </a:p>
          </p:txBody>
        </p:sp>
      </p:grpSp>
      <p:sp>
        <p:nvSpPr>
          <p:cNvPr id="28" name="Date Placeholder 27"/>
          <p:cNvSpPr>
            <a:spLocks noGrp="1"/>
          </p:cNvSpPr>
          <p:nvPr>
            <p:ph type="dt" sz="half" idx="2"/>
          </p:nvPr>
        </p:nvSpPr>
        <p:spPr>
          <a:xfrm>
            <a:off x="192088" y="6461671"/>
            <a:ext cx="761512" cy="13379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5245AC6-241B-4B56-BD95-BEEA95A36893}" type="datetime5">
              <a:rPr lang="en-US" smtClean="0"/>
              <a:t>18-Nov-19</a:t>
            </a:fld>
            <a:endParaRPr lang="en-US" dirty="0"/>
          </a:p>
        </p:txBody>
      </p:sp>
      <p:sp>
        <p:nvSpPr>
          <p:cNvPr id="29" name="Footer Placeholder 28"/>
          <p:cNvSpPr>
            <a:spLocks noGrp="1"/>
          </p:cNvSpPr>
          <p:nvPr>
            <p:ph type="ftr" sz="quarter" idx="3"/>
          </p:nvPr>
        </p:nvSpPr>
        <p:spPr>
          <a:xfrm>
            <a:off x="1076400" y="6461671"/>
            <a:ext cx="8162717" cy="13379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144000" indent="-144000" algn="l">
              <a:buClr>
                <a:schemeClr val="tx2"/>
              </a:buClr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f presentation (Insert / Header &amp; Footer / Apply to All)</a:t>
            </a:r>
          </a:p>
        </p:txBody>
      </p:sp>
      <p:sp>
        <p:nvSpPr>
          <p:cNvPr id="30" name="Slide Number Placeholder 29"/>
          <p:cNvSpPr>
            <a:spLocks noGrp="1"/>
          </p:cNvSpPr>
          <p:nvPr>
            <p:ph type="sldNum" sz="quarter" idx="4"/>
          </p:nvPr>
        </p:nvSpPr>
        <p:spPr>
          <a:xfrm>
            <a:off x="11186669" y="6461671"/>
            <a:ext cx="648000" cy="13379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5F3E29E4-0979-4FCA-B4C5-5FC6044C982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75061" y="288922"/>
            <a:ext cx="7910158" cy="64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75062" y="1629618"/>
            <a:ext cx="10097764" cy="41393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8B85C25-C033-496F-8B0F-7B210F0EA851}"/>
              </a:ext>
            </a:extLst>
          </p:cNvPr>
          <p:cNvPicPr>
            <a:picLocks noChangeAspect="1"/>
          </p:cNvPicPr>
          <p:nvPr userDrawn="1"/>
        </p:nvPicPr>
        <p:blipFill>
          <a:blip r:embed="rId40"/>
          <a:stretch>
            <a:fillRect/>
          </a:stretch>
        </p:blipFill>
        <p:spPr>
          <a:xfrm>
            <a:off x="9340716" y="448859"/>
            <a:ext cx="1383848" cy="40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029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69" r:id="rId2"/>
    <p:sldLayoutId id="2147483649" r:id="rId3"/>
    <p:sldLayoutId id="2147483666" r:id="rId4"/>
    <p:sldLayoutId id="2147483662" r:id="rId5"/>
    <p:sldLayoutId id="2147483668" r:id="rId6"/>
    <p:sldLayoutId id="2147483650" r:id="rId7"/>
    <p:sldLayoutId id="2147483660" r:id="rId8"/>
    <p:sldLayoutId id="2147483664" r:id="rId9"/>
    <p:sldLayoutId id="2147483661" r:id="rId10"/>
    <p:sldLayoutId id="2147483670" r:id="rId11"/>
    <p:sldLayoutId id="2147483671" r:id="rId12"/>
    <p:sldLayoutId id="2147483674" r:id="rId13"/>
    <p:sldLayoutId id="2147483675" r:id="rId14"/>
    <p:sldLayoutId id="2147483673" r:id="rId15"/>
    <p:sldLayoutId id="2147483677" r:id="rId16"/>
    <p:sldLayoutId id="2147483676" r:id="rId17"/>
    <p:sldLayoutId id="2147483683" r:id="rId18"/>
    <p:sldLayoutId id="2147483684" r:id="rId19"/>
    <p:sldLayoutId id="2147483681" r:id="rId20"/>
    <p:sldLayoutId id="2147483678" r:id="rId21"/>
    <p:sldLayoutId id="2147483679" r:id="rId22"/>
    <p:sldLayoutId id="2147483680" r:id="rId23"/>
    <p:sldLayoutId id="2147483667" r:id="rId24"/>
    <p:sldLayoutId id="2147483655" r:id="rId25"/>
    <p:sldLayoutId id="2147483658" r:id="rId26"/>
    <p:sldLayoutId id="2147483659" r:id="rId27"/>
    <p:sldLayoutId id="2147483685" r:id="rId28"/>
    <p:sldLayoutId id="2147483686" r:id="rId29"/>
    <p:sldLayoutId id="2147483687" r:id="rId30"/>
    <p:sldLayoutId id="2147483688" r:id="rId31"/>
    <p:sldLayoutId id="2147483689" r:id="rId32"/>
    <p:sldLayoutId id="2147483690" r:id="rId33"/>
    <p:sldLayoutId id="2147483691" r:id="rId34"/>
    <p:sldLayoutId id="2147483693" r:id="rId35"/>
    <p:sldLayoutId id="2147483695" r:id="rId36"/>
    <p:sldLayoutId id="2147483696" r:id="rId37"/>
    <p:sldLayoutId id="2147483697" r:id="rId38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1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8000" indent="-2520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2520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Font typeface="Lato" panose="020F050202020403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52000" indent="-2520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648000" indent="-2520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520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512000" indent="-2520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944000" indent="-252000" algn="l" defTabSz="914400" rtl="0" eaLnBrk="1" latinLnBrk="0" hangingPunct="1">
        <a:lnSpc>
          <a:spcPct val="11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19">
          <p15:clr>
            <a:srgbClr val="5ACBF0"/>
          </p15:clr>
        </p15:guide>
        <p15:guide id="3" pos="257">
          <p15:clr>
            <a:srgbClr val="5ACBF0"/>
          </p15:clr>
        </p15:guide>
        <p15:guide id="4" pos="675" userDrawn="1">
          <p15:clr>
            <a:srgbClr val="5ACBF0"/>
          </p15:clr>
        </p15:guide>
        <p15:guide id="5" pos="7038">
          <p15:clr>
            <a:srgbClr val="5ACBF0"/>
          </p15:clr>
        </p15:guide>
        <p15:guide id="6" pos="7446">
          <p15:clr>
            <a:srgbClr val="5ACBF0"/>
          </p15:clr>
        </p15:guide>
        <p15:guide id="7" orient="horz" pos="255">
          <p15:clr>
            <a:srgbClr val="5ACBF0"/>
          </p15:clr>
        </p15:guide>
        <p15:guide id="8" orient="horz" pos="663">
          <p15:clr>
            <a:srgbClr val="5ACBF0"/>
          </p15:clr>
        </p15:guide>
        <p15:guide id="9" orient="horz" pos="799">
          <p15:clr>
            <a:srgbClr val="5ACBF0"/>
          </p15:clr>
        </p15:guide>
        <p15:guide id="10" orient="horz" pos="1026">
          <p15:clr>
            <a:srgbClr val="5ACBF0"/>
          </p15:clr>
        </p15:guide>
        <p15:guide id="11" orient="horz" pos="3634">
          <p15:clr>
            <a:srgbClr val="5ACBF0"/>
          </p15:clr>
        </p15:guide>
        <p15:guide id="12" orient="horz" pos="3929">
          <p15:clr>
            <a:srgbClr val="5ACBF0"/>
          </p15:clr>
        </p15:guide>
        <p15:guide id="13" orient="horz" pos="4133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1802" y="260648"/>
            <a:ext cx="8447617" cy="64740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/>
              <a:t>Click to add tex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 bwMode="gray">
          <a:xfrm>
            <a:off x="431371" y="1052736"/>
            <a:ext cx="11329259" cy="5328592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4" name="VCT_Marker_ID_4" hidden="1"/>
          <p:cNvSpPr/>
          <p:nvPr>
            <p:custDataLst>
              <p:tags r:id="rId24"/>
            </p:custDataLst>
          </p:nvPr>
        </p:nvSpPr>
        <p:spPr bwMode="gray">
          <a:xfrm>
            <a:off x="1693334" y="127000"/>
            <a:ext cx="169333" cy="127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2" name="Gruppieren 11"/>
          <p:cNvGrpSpPr/>
          <p:nvPr/>
        </p:nvGrpSpPr>
        <p:grpSpPr bwMode="gray">
          <a:xfrm>
            <a:off x="431800" y="-315520"/>
            <a:ext cx="11328987" cy="216031"/>
            <a:chOff x="323850" y="-531550"/>
            <a:chExt cx="8496740" cy="432060"/>
          </a:xfrm>
        </p:grpSpPr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/>
        </p:nvGrpSpPr>
        <p:grpSpPr bwMode="gray">
          <a:xfrm>
            <a:off x="431213" y="6957490"/>
            <a:ext cx="11328987" cy="216031"/>
            <a:chOff x="323850" y="-531550"/>
            <a:chExt cx="8496740" cy="43206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uppieren 57"/>
          <p:cNvGrpSpPr/>
          <p:nvPr/>
        </p:nvGrpSpPr>
        <p:grpSpPr bwMode="gray">
          <a:xfrm>
            <a:off x="12336867" y="908562"/>
            <a:ext cx="288040" cy="5688791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uppieren 55"/>
          <p:cNvGrpSpPr/>
          <p:nvPr/>
        </p:nvGrpSpPr>
        <p:grpSpPr bwMode="gray">
          <a:xfrm>
            <a:off x="-432733" y="908650"/>
            <a:ext cx="288040" cy="5688791"/>
            <a:chOff x="-540710" y="908650"/>
            <a:chExt cx="432060" cy="5688790"/>
          </a:xfrm>
        </p:grpSpPr>
        <p:cxnSp>
          <p:nvCxnSpPr>
            <p:cNvPr id="57" name="Gerade Verbindung 56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5" name="Rechteck 74"/>
          <p:cNvSpPr/>
          <p:nvPr/>
        </p:nvSpPr>
        <p:spPr bwMode="gray">
          <a:xfrm>
            <a:off x="10031960" y="6597440"/>
            <a:ext cx="1728827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C2ABCC37-C314-4D17-9583-6D754EDEC568}" type="slidenum">
              <a:rPr lang="en-US" sz="1067" noProof="0" smtClean="0">
                <a:solidFill>
                  <a:schemeClr val="bg2"/>
                </a:solidFill>
                <a:latin typeface="Arial" pitchFamily="34" charset="0"/>
              </a:rPr>
              <a:t>‹#›</a:t>
            </a:fld>
            <a:endParaRPr lang="en-US" sz="1067" noProof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7511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6" r:id="rId17"/>
    <p:sldLayoutId id="2147483717" r:id="rId18"/>
    <p:sldLayoutId id="2147483718" r:id="rId19"/>
    <p:sldLayoutId id="2147483719" r:id="rId20"/>
    <p:sldLayoutId id="2147483720" r:id="rId21"/>
  </p:sldLayoutIdLst>
  <p:hf hdr="0" ftr="0" dt="0"/>
  <p:txStyles>
    <p:titleStyle>
      <a:lvl1pPr algn="l" defTabSz="1219170" rtl="0" eaLnBrk="1" latinLnBrk="0" hangingPunct="1">
        <a:spcBef>
          <a:spcPct val="0"/>
        </a:spcBef>
        <a:buNone/>
        <a:defRPr sz="2667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spcAft>
          <a:spcPts val="0"/>
        </a:spcAft>
        <a:buFont typeface="Arial" pitchFamily="34" charset="0"/>
        <a:buNone/>
        <a:defRPr sz="2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1219170" rtl="0" eaLnBrk="1" latinLnBrk="0" hangingPunct="1">
        <a:spcBef>
          <a:spcPts val="800"/>
        </a:spcBef>
        <a:spcAft>
          <a:spcPts val="0"/>
        </a:spcAft>
        <a:buFont typeface="Arial" pitchFamily="34" charset="0"/>
        <a:buNone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241294" indent="-241294" algn="l" defTabSz="1219170" rtl="0" eaLnBrk="1" latinLnBrk="0" hangingPunct="1">
        <a:spcBef>
          <a:spcPts val="400"/>
        </a:spcBef>
        <a:spcAft>
          <a:spcPts val="0"/>
        </a:spcAft>
        <a:buFont typeface="Arial" pitchFamily="34" charset="0"/>
        <a:buChar char="•"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79988" indent="-241294" algn="l" defTabSz="1219170" rtl="0" eaLnBrk="1" latinLnBrk="0" hangingPunct="1">
        <a:spcBef>
          <a:spcPts val="400"/>
        </a:spcBef>
        <a:spcAft>
          <a:spcPts val="0"/>
        </a:spcAft>
        <a:buFont typeface="Arial" pitchFamily="34" charset="0"/>
        <a:buChar char="•"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9982" indent="-241294" algn="l" defTabSz="1219170" rtl="0" eaLnBrk="1" latinLnBrk="0" hangingPunct="1">
        <a:spcBef>
          <a:spcPts val="400"/>
        </a:spcBef>
        <a:spcAft>
          <a:spcPts val="0"/>
        </a:spcAft>
        <a:buFont typeface="Arial" pitchFamily="34" charset="0"/>
        <a:buChar char="•"/>
        <a:defRPr sz="2133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19982" indent="-241294" algn="l" defTabSz="1219170" rtl="0" eaLnBrk="1" latinLnBrk="0" hangingPunct="1">
        <a:spcBef>
          <a:spcPts val="400"/>
        </a:spcBef>
        <a:spcAft>
          <a:spcPts val="0"/>
        </a:spcAft>
        <a:buFont typeface="Arial" pitchFamily="34" charset="0"/>
        <a:buChar char="•"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19982" indent="-241294" algn="l" defTabSz="1219170" rtl="0" eaLnBrk="1" latinLnBrk="0" hangingPunct="1">
        <a:spcBef>
          <a:spcPts val="400"/>
        </a:spcBef>
        <a:spcAft>
          <a:spcPts val="0"/>
        </a:spcAft>
        <a:buFont typeface="Arial" pitchFamily="34" charset="0"/>
        <a:buChar char="•"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723882" indent="-241294" algn="l" defTabSz="1219170" rtl="0" eaLnBrk="1" latinLnBrk="0" hangingPunct="1">
        <a:spcBef>
          <a:spcPts val="400"/>
        </a:spcBef>
        <a:spcAft>
          <a:spcPts val="0"/>
        </a:spcAft>
        <a:buFont typeface="Arial" pitchFamily="34" charset="0"/>
        <a:buChar char="•"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19982" indent="-241294" algn="l" defTabSz="1219170" rtl="0" eaLnBrk="1" latinLnBrk="0" hangingPunct="1">
        <a:spcBef>
          <a:spcPts val="400"/>
        </a:spcBef>
        <a:spcAft>
          <a:spcPts val="0"/>
        </a:spcAft>
        <a:buFont typeface="Arial" pitchFamily="34" charset="0"/>
        <a:buChar char="•"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chart" Target="../charts/chart6.xml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chart" Target="../charts/chart7.xml"/><Relationship Id="rId4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57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slideLayout" Target="../slideLayouts/slideLayout35.xml"/><Relationship Id="rId11" Type="http://schemas.openxmlformats.org/officeDocument/2006/relationships/chart" Target="../charts/chart11.xml"/><Relationship Id="rId5" Type="http://schemas.openxmlformats.org/officeDocument/2006/relationships/tags" Target="../tags/tag59.xml"/><Relationship Id="rId10" Type="http://schemas.openxmlformats.org/officeDocument/2006/relationships/chart" Target="../charts/chart10.xml"/><Relationship Id="rId4" Type="http://schemas.openxmlformats.org/officeDocument/2006/relationships/tags" Target="../tags/tag58.xml"/><Relationship Id="rId9" Type="http://schemas.openxmlformats.org/officeDocument/2006/relationships/chart" Target="../charts/char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3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chart" Target="../charts/chart13.xml"/><Relationship Id="rId4" Type="http://schemas.openxmlformats.org/officeDocument/2006/relationships/notesSlide" Target="../notesSlides/notesSlide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tags" Target="../tags/tag16.xml"/><Relationship Id="rId16" Type="http://schemas.openxmlformats.org/officeDocument/2006/relationships/image" Target="../media/image24.png"/><Relationship Id="rId1" Type="http://schemas.openxmlformats.org/officeDocument/2006/relationships/tags" Target="../tags/tag15.xml"/><Relationship Id="rId6" Type="http://schemas.openxmlformats.org/officeDocument/2006/relationships/image" Target="../media/image14.emf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5" Type="http://schemas.openxmlformats.org/officeDocument/2006/relationships/image" Target="../media/image23.emf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7.png"/><Relationship Id="rId1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3" Type="http://schemas.openxmlformats.org/officeDocument/2006/relationships/tags" Target="../tags/tag19.xml"/><Relationship Id="rId21" Type="http://schemas.openxmlformats.org/officeDocument/2006/relationships/tags" Target="../tags/tag37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notesSlide" Target="../notesSlides/notesSlide2.xml"/><Relationship Id="rId2" Type="http://schemas.openxmlformats.org/officeDocument/2006/relationships/tags" Target="../tags/tag18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slideLayout" Target="../slideLayouts/slideLayout30.xml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23" Type="http://schemas.openxmlformats.org/officeDocument/2006/relationships/tags" Target="../tags/tag39.xml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tags" Target="../tags/tag3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chart" Target="../charts/chart2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chart" Target="../charts/chart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44.xml"/><Relationship Id="rId10" Type="http://schemas.openxmlformats.org/officeDocument/2006/relationships/slideLayout" Target="../slideLayouts/slideLayout31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chart" Target="../charts/chart5.xml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A3BA3C-82AC-45BA-9659-DD8E28BB5C16}" type="datetime5">
              <a:rPr lang="en-US" smtClean="0"/>
              <a:t>18-Nov-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B25F7-8D1F-44B5-B485-EE3C438CFD7B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417599" y="1628775"/>
            <a:ext cx="11509357" cy="1365278"/>
          </a:xfrm>
        </p:spPr>
        <p:txBody>
          <a:bodyPr/>
          <a:lstStyle/>
          <a:p>
            <a:r>
              <a:rPr lang="en-US" dirty="0"/>
              <a:t>Hoe </a:t>
            </a:r>
            <a:r>
              <a:rPr lang="en-US" dirty="0" err="1"/>
              <a:t>staat</a:t>
            </a:r>
            <a:r>
              <a:rPr lang="en-US" dirty="0"/>
              <a:t> de </a:t>
            </a:r>
            <a:r>
              <a:rPr lang="en-US" dirty="0" err="1"/>
              <a:t>muziekmarkt</a:t>
            </a:r>
            <a:r>
              <a:rPr lang="en-US" dirty="0"/>
              <a:t> </a:t>
            </a:r>
            <a:r>
              <a:rPr lang="en-US" dirty="0" err="1"/>
              <a:t>ervoor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hoe </a:t>
            </a:r>
            <a:r>
              <a:rPr lang="en-US" dirty="0" err="1"/>
              <a:t>staan</a:t>
            </a:r>
            <a:r>
              <a:rPr lang="en-US" dirty="0"/>
              <a:t> </a:t>
            </a:r>
            <a:r>
              <a:rPr lang="en-US" dirty="0" err="1"/>
              <a:t>wij</a:t>
            </a:r>
            <a:r>
              <a:rPr lang="en-US" dirty="0"/>
              <a:t> </a:t>
            </a:r>
            <a:r>
              <a:rPr lang="en-US" dirty="0" err="1"/>
              <a:t>hierin</a:t>
            </a:r>
            <a:r>
              <a:rPr lang="en-US" dirty="0"/>
              <a:t>?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417600" y="4094163"/>
            <a:ext cx="4170584" cy="1080000"/>
          </a:xfrm>
        </p:spPr>
        <p:txBody>
          <a:bodyPr/>
          <a:lstStyle/>
          <a:p>
            <a:r>
              <a:rPr lang="en-US" sz="2400" b="0" dirty="0"/>
              <a:t>Stomp </a:t>
            </a:r>
            <a:r>
              <a:rPr lang="en-US" sz="2400" b="0" dirty="0" err="1"/>
              <a:t>ledendag</a:t>
            </a:r>
            <a:r>
              <a:rPr lang="en-US" sz="2400" b="0" dirty="0"/>
              <a:t> </a:t>
            </a:r>
          </a:p>
          <a:p>
            <a:r>
              <a:rPr lang="en-US" sz="2400" b="0" dirty="0" err="1"/>
              <a:t>woensdag</a:t>
            </a:r>
            <a:r>
              <a:rPr lang="en-US" sz="2400" b="0" dirty="0"/>
              <a:t> 20 </a:t>
            </a:r>
            <a:r>
              <a:rPr lang="en-US" sz="2400" b="0" dirty="0" err="1"/>
              <a:t>november</a:t>
            </a:r>
            <a:r>
              <a:rPr lang="en-US" sz="2400" b="0" dirty="0"/>
              <a:t> 2019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17599" y="6126107"/>
            <a:ext cx="3816000" cy="296332"/>
          </a:xfrm>
        </p:spPr>
        <p:txBody>
          <a:bodyPr/>
          <a:lstStyle/>
          <a:p>
            <a:r>
              <a:rPr lang="en-US" sz="1800" dirty="0"/>
              <a:t>René van der Schinkel</a:t>
            </a:r>
          </a:p>
        </p:txBody>
      </p:sp>
    </p:spTree>
    <p:extLst>
      <p:ext uri="{BB962C8B-B14F-4D97-AF65-F5344CB8AC3E}">
        <p14:creationId xmlns:p14="http://schemas.microsoft.com/office/powerpoint/2010/main" val="4782657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en-US" dirty="0" err="1"/>
              <a:t>Omzetaandelen</a:t>
            </a:r>
            <a:r>
              <a:rPr lang="en-US" dirty="0"/>
              <a:t> Indies CD’s top vs tail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10" name="Content Placeholder 4"/>
          <p:cNvGraphicFramePr>
            <a:graphicFrameLocks noGrp="1"/>
          </p:cNvGraphicFramePr>
          <p:nvPr>
            <p:ph sz="quarter" idx="4294967295"/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5904168"/>
              </p:ext>
            </p:extLst>
          </p:nvPr>
        </p:nvGraphicFramePr>
        <p:xfrm>
          <a:off x="431800" y="1892301"/>
          <a:ext cx="11328400" cy="44174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419684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1075061" y="288922"/>
            <a:ext cx="8436584" cy="648000"/>
          </a:xfrm>
        </p:spPr>
        <p:txBody>
          <a:bodyPr/>
          <a:lstStyle/>
          <a:p>
            <a:r>
              <a:rPr lang="en-US" dirty="0"/>
              <a:t>Volume </a:t>
            </a:r>
            <a:r>
              <a:rPr lang="en-US" dirty="0" err="1"/>
              <a:t>aandelen</a:t>
            </a:r>
            <a:r>
              <a:rPr lang="en-US" dirty="0"/>
              <a:t> Indies streams </a:t>
            </a:r>
            <a:br>
              <a:rPr lang="en-US" dirty="0"/>
            </a:br>
            <a:r>
              <a:rPr lang="en-US" dirty="0"/>
              <a:t>top vs tail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10" name="Content Placeholder 4"/>
          <p:cNvGraphicFramePr>
            <a:graphicFrameLocks noGrp="1"/>
          </p:cNvGraphicFramePr>
          <p:nvPr>
            <p:ph sz="quarter" idx="4294967295"/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5556587"/>
              </p:ext>
            </p:extLst>
          </p:nvPr>
        </p:nvGraphicFramePr>
        <p:xfrm>
          <a:off x="431800" y="1892301"/>
          <a:ext cx="11328400" cy="44174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8F7DB166-719D-40A8-9FB7-0EB1197DCEA3}"/>
              </a:ext>
            </a:extLst>
          </p:cNvPr>
          <p:cNvSpPr txBox="1"/>
          <p:nvPr/>
        </p:nvSpPr>
        <p:spPr>
          <a:xfrm>
            <a:off x="143339" y="6597352"/>
            <a:ext cx="2400267" cy="1920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400"/>
              </a:spcBef>
            </a:pPr>
            <a:r>
              <a:rPr lang="nl-NL" sz="800" dirty="0">
                <a:latin typeface="Arial" pitchFamily="34" charset="0"/>
                <a:cs typeface="Arial" pitchFamily="34" charset="0"/>
              </a:rPr>
              <a:t>* obv top 10,000 units</a:t>
            </a:r>
          </a:p>
        </p:txBody>
      </p:sp>
    </p:spTree>
    <p:extLst>
      <p:ext uri="{BB962C8B-B14F-4D97-AF65-F5344CB8AC3E}">
        <p14:creationId xmlns:p14="http://schemas.microsoft.com/office/powerpoint/2010/main" val="38225965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627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en-US" dirty="0" err="1"/>
              <a:t>Omzetverhouding</a:t>
            </a:r>
            <a:r>
              <a:rPr lang="en-US" dirty="0"/>
              <a:t> CD’s </a:t>
            </a:r>
            <a:r>
              <a:rPr lang="en-US" dirty="0" err="1"/>
              <a:t>naar</a:t>
            </a:r>
            <a:r>
              <a:rPr lang="en-US" dirty="0"/>
              <a:t> genre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7" name="Objekt 5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2095570"/>
              </p:ext>
            </p:extLst>
          </p:nvPr>
        </p:nvGraphicFramePr>
        <p:xfrm>
          <a:off x="-1" y="2168682"/>
          <a:ext cx="3215681" cy="31208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TextBox 5"/>
          <p:cNvSpPr txBox="1"/>
          <p:nvPr/>
        </p:nvSpPr>
        <p:spPr bwMode="gray">
          <a:xfrm>
            <a:off x="335360" y="5240041"/>
            <a:ext cx="2496277" cy="2051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400"/>
              </a:spcBef>
            </a:pPr>
            <a:r>
              <a:rPr lang="nl-NL" sz="1333" dirty="0">
                <a:latin typeface="Arial" pitchFamily="34" charset="0"/>
                <a:cs typeface="Arial" pitchFamily="34" charset="0"/>
              </a:rPr>
              <a:t>YTD okt. ‘18</a:t>
            </a:r>
          </a:p>
        </p:txBody>
      </p:sp>
      <p:graphicFrame>
        <p:nvGraphicFramePr>
          <p:cNvPr id="8" name="Objekt 5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48297481"/>
              </p:ext>
            </p:extLst>
          </p:nvPr>
        </p:nvGraphicFramePr>
        <p:xfrm>
          <a:off x="2880026" y="2161961"/>
          <a:ext cx="3215681" cy="31208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9" name="TextBox 8"/>
          <p:cNvSpPr txBox="1"/>
          <p:nvPr/>
        </p:nvSpPr>
        <p:spPr bwMode="gray">
          <a:xfrm>
            <a:off x="3215680" y="5240041"/>
            <a:ext cx="2496277" cy="2051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400"/>
              </a:spcBef>
            </a:pPr>
            <a:r>
              <a:rPr lang="nl-NL" sz="1333" dirty="0">
                <a:latin typeface="Arial" pitchFamily="34" charset="0"/>
                <a:cs typeface="Arial" pitchFamily="34" charset="0"/>
              </a:rPr>
              <a:t>YTD okt. ‘19</a:t>
            </a:r>
          </a:p>
        </p:txBody>
      </p:sp>
      <p:graphicFrame>
        <p:nvGraphicFramePr>
          <p:cNvPr id="10" name="Objekt 5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7657587"/>
              </p:ext>
            </p:extLst>
          </p:nvPr>
        </p:nvGraphicFramePr>
        <p:xfrm>
          <a:off x="6095708" y="2180862"/>
          <a:ext cx="3215681" cy="31208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1" name="Objekt 5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46447147"/>
              </p:ext>
            </p:extLst>
          </p:nvPr>
        </p:nvGraphicFramePr>
        <p:xfrm>
          <a:off x="8976320" y="2180862"/>
          <a:ext cx="3215681" cy="31208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2" name="TextBox 11"/>
          <p:cNvSpPr txBox="1"/>
          <p:nvPr/>
        </p:nvSpPr>
        <p:spPr bwMode="gray">
          <a:xfrm>
            <a:off x="6576054" y="1755671"/>
            <a:ext cx="2496277" cy="2051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400"/>
              </a:spcBef>
            </a:pPr>
            <a:r>
              <a:rPr lang="nl-NL" sz="1333" dirty="0">
                <a:latin typeface="Arial" pitchFamily="34" charset="0"/>
                <a:cs typeface="Arial" pitchFamily="34" charset="0"/>
              </a:rPr>
              <a:t>Aandeel Indies internationaal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9360363" y="1749257"/>
            <a:ext cx="2496277" cy="2051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400"/>
              </a:spcBef>
            </a:pPr>
            <a:r>
              <a:rPr lang="nl-NL" sz="1333" dirty="0">
                <a:latin typeface="Arial" pitchFamily="34" charset="0"/>
                <a:cs typeface="Arial" pitchFamily="34" charset="0"/>
              </a:rPr>
              <a:t>Aandeel Indies nationa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F7166A5-C8B6-48CE-A0A6-D7756C52CD07}"/>
              </a:ext>
            </a:extLst>
          </p:cNvPr>
          <p:cNvSpPr/>
          <p:nvPr/>
        </p:nvSpPr>
        <p:spPr>
          <a:xfrm>
            <a:off x="5899094" y="1302818"/>
            <a:ext cx="6166131" cy="41997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125000"/>
              </a:lnSpc>
            </a:pPr>
            <a:endParaRPr lang="en-NL" sz="1600" dirty="0"/>
          </a:p>
        </p:txBody>
      </p:sp>
    </p:spTree>
    <p:extLst>
      <p:ext uri="{BB962C8B-B14F-4D97-AF65-F5344CB8AC3E}">
        <p14:creationId xmlns:p14="http://schemas.microsoft.com/office/powerpoint/2010/main" val="1795730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1652852264"/>
              </p:ext>
            </p:extLst>
          </p:nvPr>
        </p:nvGraphicFramePr>
        <p:xfrm>
          <a:off x="1854391" y="1399430"/>
          <a:ext cx="7910158" cy="48336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1205">
                  <a:extLst>
                    <a:ext uri="{9D8B030D-6E8A-4147-A177-3AD203B41FA5}">
                      <a16:colId xmlns:a16="http://schemas.microsoft.com/office/drawing/2014/main" val="3463582835"/>
                    </a:ext>
                  </a:extLst>
                </a:gridCol>
                <a:gridCol w="2962519">
                  <a:extLst>
                    <a:ext uri="{9D8B030D-6E8A-4147-A177-3AD203B41FA5}">
                      <a16:colId xmlns:a16="http://schemas.microsoft.com/office/drawing/2014/main" val="184226875"/>
                    </a:ext>
                  </a:extLst>
                </a:gridCol>
                <a:gridCol w="3846434">
                  <a:extLst>
                    <a:ext uri="{9D8B030D-6E8A-4147-A177-3AD203B41FA5}">
                      <a16:colId xmlns:a16="http://schemas.microsoft.com/office/drawing/2014/main" val="1546941107"/>
                    </a:ext>
                  </a:extLst>
                </a:gridCol>
              </a:tblGrid>
              <a:tr h="490250">
                <a:tc>
                  <a:txBody>
                    <a:bodyPr/>
                    <a:lstStyle/>
                    <a:p>
                      <a:r>
                        <a:rPr lang="nl-NL" sz="1600" dirty="0"/>
                        <a:t>Ranking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600" dirty="0"/>
                        <a:t>Title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600" dirty="0"/>
                        <a:t>Artist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352595174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100" dirty="0"/>
                        <a:t>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The platinum collection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Queen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029250267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100" dirty="0"/>
                        <a:t>2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Kinderen voor kinderen 40 – Reis mee!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100" dirty="0"/>
                        <a:t>Kinderen voor kinderen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750769158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100" dirty="0"/>
                        <a:t>3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Western stars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100" dirty="0"/>
                        <a:t>Bruce Springsteen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873637223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100" dirty="0"/>
                        <a:t>4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Rammstein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Rammstein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881430292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100" dirty="0"/>
                        <a:t>5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Abbey road 50th anniversary edition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The Beatle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66901255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100" dirty="0"/>
                        <a:t>6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A star is born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Original soundtrack Lady Gaga / Bradley Cooper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426713403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100" dirty="0"/>
                        <a:t>7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Bohemian rhapsody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Original soundtrack / Queen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4230258530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100" dirty="0"/>
                        <a:t>8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Q music – top 500 van het foute uur 2019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Various artist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915105323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100" dirty="0"/>
                        <a:t>9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Top 40 - afscheid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Various artist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697559963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100" dirty="0"/>
                        <a:t>10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Kinderen voor kinderen 39 – Kom erbij!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Kinderen voor kinderen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344423390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100" dirty="0"/>
                        <a:t>1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538 hitzone 89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Various artist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1617419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100" dirty="0"/>
                        <a:t>12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538 hitzone 88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Various artist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865523610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100" dirty="0"/>
                        <a:t>13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538 hitzone 90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Various artist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143878582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100" dirty="0"/>
                        <a:t>14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Pressure makes diamonds 1 &amp; 2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Danny Vera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100132276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100" dirty="0"/>
                        <a:t>15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En door bonus edition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100" dirty="0"/>
                        <a:t>Snollebolleke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606238418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Top 15 fysieke sales YTD oktober 2019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43339" y="6597352"/>
            <a:ext cx="2560104" cy="1920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400"/>
              </a:spcBef>
            </a:pPr>
            <a:r>
              <a:rPr lang="nl-NL" sz="800" dirty="0">
                <a:latin typeface="Arial" pitchFamily="34" charset="0"/>
                <a:cs typeface="Arial" pitchFamily="34" charset="0"/>
              </a:rPr>
              <a:t>based on units, CD (incl. SE) &amp; vinyl bij elkaar opgeteld</a:t>
            </a:r>
          </a:p>
        </p:txBody>
      </p:sp>
    </p:spTree>
    <p:extLst>
      <p:ext uri="{BB962C8B-B14F-4D97-AF65-F5344CB8AC3E}">
        <p14:creationId xmlns:p14="http://schemas.microsoft.com/office/powerpoint/2010/main" val="1947128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Encore; Hoe doen we het in de charts?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11691" y="932723"/>
            <a:ext cx="4992555" cy="5482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4872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Aantal noteringen Indies binnen    Dutch Charts singles top 100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7B5F1EB-EBDD-4F39-922D-8DBA12F0EE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3214449"/>
              </p:ext>
            </p:extLst>
          </p:nvPr>
        </p:nvGraphicFramePr>
        <p:xfrm>
          <a:off x="728662" y="2560458"/>
          <a:ext cx="10734675" cy="39052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325355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 uiExpand="1">
        <p:bldSub>
          <a:bldChart bld="series"/>
        </p:bldSub>
      </p:bldGraphic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431802" y="260648"/>
            <a:ext cx="8544519" cy="647403"/>
          </a:xfrm>
        </p:spPr>
        <p:txBody>
          <a:bodyPr/>
          <a:lstStyle/>
          <a:p>
            <a:r>
              <a:rPr lang="en-US" dirty="0" err="1"/>
              <a:t>Aandelen</a:t>
            </a:r>
            <a:r>
              <a:rPr lang="en-US" dirty="0"/>
              <a:t> Indies in Dutch Charts </a:t>
            </a:r>
            <a:r>
              <a:rPr lang="en-US" dirty="0" err="1"/>
              <a:t>obv</a:t>
            </a:r>
            <a:r>
              <a:rPr lang="en-US" dirty="0"/>
              <a:t> top 100 YTD </a:t>
            </a:r>
            <a:r>
              <a:rPr lang="en-US" dirty="0" err="1"/>
              <a:t>oktober</a:t>
            </a:r>
            <a:endParaRPr lang="en-US" dirty="0"/>
          </a:p>
        </p:txBody>
      </p:sp>
      <p:graphicFrame>
        <p:nvGraphicFramePr>
          <p:cNvPr id="10" name="Content Placeholder 4"/>
          <p:cNvGraphicFramePr>
            <a:graphicFrameLocks noGrp="1"/>
          </p:cNvGraphicFramePr>
          <p:nvPr>
            <p:ph sz="quarter" idx="4294967295"/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2887123"/>
              </p:ext>
            </p:extLst>
          </p:nvPr>
        </p:nvGraphicFramePr>
        <p:xfrm>
          <a:off x="431800" y="1892301"/>
          <a:ext cx="11328400" cy="44174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767255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217CC-534C-41BF-930C-27B1184E95F2}" type="datetime5">
              <a:rPr lang="en-US" smtClean="0"/>
              <a:t>18-Nov-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itle of presentation (Insert / Header &amp; Footer / Apply to All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B25F7-8D1F-44B5-B485-EE3C438CFD7B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4777671" y="2019727"/>
            <a:ext cx="5320486" cy="2236264"/>
          </a:xfrm>
        </p:spPr>
        <p:txBody>
          <a:bodyPr/>
          <a:lstStyle/>
          <a:p>
            <a:r>
              <a:rPr lang="en-US" dirty="0" err="1"/>
              <a:t>Bedankt</a:t>
            </a:r>
            <a:r>
              <a:rPr lang="en-US" dirty="0"/>
              <a:t> </a:t>
            </a:r>
            <a:r>
              <a:rPr lang="en-US" dirty="0" err="1"/>
              <a:t>voor</a:t>
            </a:r>
            <a:r>
              <a:rPr lang="en-US" dirty="0"/>
              <a:t> de </a:t>
            </a:r>
            <a:r>
              <a:rPr lang="en-US" dirty="0" err="1"/>
              <a:t>aandacht</a:t>
            </a:r>
            <a:r>
              <a:rPr lang="en-US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9528442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2"/>
          <p:cNvSpPr>
            <a:spLocks/>
          </p:cNvSpPr>
          <p:nvPr/>
        </p:nvSpPr>
        <p:spPr bwMode="auto">
          <a:xfrm>
            <a:off x="3405718" y="4068233"/>
            <a:ext cx="4756149" cy="948267"/>
          </a:xfrm>
          <a:custGeom>
            <a:avLst/>
            <a:gdLst>
              <a:gd name="T0" fmla="*/ 1003 w 1118"/>
              <a:gd name="T1" fmla="*/ 111 h 223"/>
              <a:gd name="T2" fmla="*/ 998 w 1118"/>
              <a:gd name="T3" fmla="*/ 102 h 223"/>
              <a:gd name="T4" fmla="*/ 997 w 1118"/>
              <a:gd name="T5" fmla="*/ 14 h 223"/>
              <a:gd name="T6" fmla="*/ 588 w 1118"/>
              <a:gd name="T7" fmla="*/ 38 h 223"/>
              <a:gd name="T8" fmla="*/ 83 w 1118"/>
              <a:gd name="T9" fmla="*/ 0 h 223"/>
              <a:gd name="T10" fmla="*/ 1 w 1118"/>
              <a:gd name="T11" fmla="*/ 70 h 223"/>
              <a:gd name="T12" fmla="*/ 0 w 1118"/>
              <a:gd name="T13" fmla="*/ 185 h 223"/>
              <a:gd name="T14" fmla="*/ 588 w 1118"/>
              <a:gd name="T15" fmla="*/ 223 h 223"/>
              <a:gd name="T16" fmla="*/ 1118 w 1118"/>
              <a:gd name="T17" fmla="*/ 193 h 223"/>
              <a:gd name="T18" fmla="*/ 1003 w 1118"/>
              <a:gd name="T19" fmla="*/ 111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18" h="223">
                <a:moveTo>
                  <a:pt x="1003" y="111"/>
                </a:moveTo>
                <a:cubicBezTo>
                  <a:pt x="1000" y="109"/>
                  <a:pt x="998" y="106"/>
                  <a:pt x="998" y="102"/>
                </a:cubicBezTo>
                <a:cubicBezTo>
                  <a:pt x="997" y="14"/>
                  <a:pt x="997" y="14"/>
                  <a:pt x="997" y="14"/>
                </a:cubicBezTo>
                <a:cubicBezTo>
                  <a:pt x="878" y="29"/>
                  <a:pt x="738" y="38"/>
                  <a:pt x="588" y="38"/>
                </a:cubicBezTo>
                <a:cubicBezTo>
                  <a:pt x="397" y="38"/>
                  <a:pt x="221" y="23"/>
                  <a:pt x="83" y="0"/>
                </a:cubicBezTo>
                <a:cubicBezTo>
                  <a:pt x="1" y="70"/>
                  <a:pt x="1" y="70"/>
                  <a:pt x="1" y="70"/>
                </a:cubicBezTo>
                <a:cubicBezTo>
                  <a:pt x="0" y="185"/>
                  <a:pt x="0" y="185"/>
                  <a:pt x="0" y="185"/>
                </a:cubicBezTo>
                <a:cubicBezTo>
                  <a:pt x="174" y="209"/>
                  <a:pt x="375" y="223"/>
                  <a:pt x="588" y="223"/>
                </a:cubicBezTo>
                <a:cubicBezTo>
                  <a:pt x="778" y="223"/>
                  <a:pt x="958" y="212"/>
                  <a:pt x="1118" y="193"/>
                </a:cubicBezTo>
                <a:lnTo>
                  <a:pt x="1003" y="11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2400"/>
          </a:p>
        </p:txBody>
      </p:sp>
      <p:sp>
        <p:nvSpPr>
          <p:cNvPr id="6" name="Rechteck 652"/>
          <p:cNvSpPr/>
          <p:nvPr/>
        </p:nvSpPr>
        <p:spPr bwMode="gray">
          <a:xfrm>
            <a:off x="3263685" y="4394696"/>
            <a:ext cx="432048" cy="38404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400"/>
              </a:spcBef>
            </a:pPr>
            <a:r>
              <a:rPr lang="en-GB" sz="2133">
                <a:solidFill>
                  <a:schemeClr val="bg1">
                    <a:alpha val="27000"/>
                  </a:schemeClr>
                </a:solidFill>
                <a:latin typeface="Arial" pitchFamily="34" charset="0"/>
                <a:cs typeface="Arial" pitchFamily="34" charset="0"/>
              </a:rPr>
              <a:t>4057 2299520 725 5120 7127 45042540</a:t>
            </a:r>
            <a:endParaRPr lang="en-GB" sz="2133" dirty="0">
              <a:solidFill>
                <a:schemeClr val="bg1">
                  <a:alpha val="27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hteck 278"/>
          <p:cNvSpPr/>
          <p:nvPr/>
        </p:nvSpPr>
        <p:spPr bwMode="gray">
          <a:xfrm>
            <a:off x="3263685" y="4832333"/>
            <a:ext cx="432048" cy="38404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400"/>
              </a:spcBef>
            </a:pPr>
            <a:r>
              <a:rPr lang="en-GB" sz="2133">
                <a:solidFill>
                  <a:schemeClr val="bg1">
                    <a:alpha val="27000"/>
                  </a:schemeClr>
                </a:solidFill>
                <a:latin typeface="Arial" pitchFamily="34" charset="0"/>
                <a:cs typeface="Arial" pitchFamily="34" charset="0"/>
              </a:rPr>
              <a:t>512511255625994050 45565437346421</a:t>
            </a:r>
            <a:endParaRPr lang="en-GB" sz="2133" dirty="0">
              <a:solidFill>
                <a:schemeClr val="bg1">
                  <a:alpha val="27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hteck 635"/>
          <p:cNvSpPr/>
          <p:nvPr/>
        </p:nvSpPr>
        <p:spPr bwMode="gray">
          <a:xfrm>
            <a:off x="3455707" y="3957059"/>
            <a:ext cx="432048" cy="38404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400"/>
              </a:spcBef>
            </a:pPr>
            <a:r>
              <a:rPr lang="en-GB" sz="2133" dirty="0">
                <a:solidFill>
                  <a:schemeClr val="bg1">
                    <a:alpha val="27000"/>
                  </a:schemeClr>
                </a:solidFill>
                <a:latin typeface="Arial" pitchFamily="34" charset="0"/>
                <a:cs typeface="Arial" pitchFamily="34" charset="0"/>
              </a:rPr>
              <a:t>333510 18524524511521151152121</a:t>
            </a:r>
          </a:p>
        </p:txBody>
      </p:sp>
      <p:grpSp>
        <p:nvGrpSpPr>
          <p:cNvPr id="9" name="Gruppieren 29"/>
          <p:cNvGrpSpPr>
            <a:grpSpLocks noChangeAspect="1"/>
          </p:cNvGrpSpPr>
          <p:nvPr/>
        </p:nvGrpSpPr>
        <p:grpSpPr>
          <a:xfrm>
            <a:off x="4415813" y="4542425"/>
            <a:ext cx="768000" cy="173420"/>
            <a:chOff x="3815916" y="3327834"/>
            <a:chExt cx="1116124" cy="252028"/>
          </a:xfrm>
          <a:solidFill>
            <a:schemeClr val="bg1"/>
          </a:solidFill>
        </p:grpSpPr>
        <p:sp>
          <p:nvSpPr>
            <p:cNvPr id="10" name="Stern mit 5 Zacken 28"/>
            <p:cNvSpPr/>
            <p:nvPr/>
          </p:nvSpPr>
          <p:spPr bwMode="gray">
            <a:xfrm>
              <a:off x="4680012" y="3327834"/>
              <a:ext cx="252028" cy="252028"/>
            </a:xfrm>
            <a:prstGeom prst="star5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Stern mit 5 Zacken 647"/>
            <p:cNvSpPr/>
            <p:nvPr/>
          </p:nvSpPr>
          <p:spPr bwMode="gray">
            <a:xfrm>
              <a:off x="4391980" y="3327834"/>
              <a:ext cx="252028" cy="252028"/>
            </a:xfrm>
            <a:prstGeom prst="star5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Stern mit 5 Zacken 648"/>
            <p:cNvSpPr/>
            <p:nvPr/>
          </p:nvSpPr>
          <p:spPr bwMode="gray">
            <a:xfrm>
              <a:off x="4103948" y="3327834"/>
              <a:ext cx="252028" cy="252028"/>
            </a:xfrm>
            <a:prstGeom prst="star5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Stern mit 5 Zacken 649"/>
            <p:cNvSpPr/>
            <p:nvPr/>
          </p:nvSpPr>
          <p:spPr bwMode="gray">
            <a:xfrm>
              <a:off x="3815916" y="3327834"/>
              <a:ext cx="252028" cy="252028"/>
            </a:xfrm>
            <a:prstGeom prst="star5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4" name="Rechteck 632"/>
          <p:cNvSpPr/>
          <p:nvPr/>
        </p:nvSpPr>
        <p:spPr bwMode="gray">
          <a:xfrm>
            <a:off x="3215680" y="4175877"/>
            <a:ext cx="432048" cy="38404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400"/>
              </a:spcBef>
            </a:pPr>
            <a:r>
              <a:rPr lang="en-GB" sz="2133">
                <a:solidFill>
                  <a:schemeClr val="bg1">
                    <a:alpha val="27000"/>
                  </a:schemeClr>
                </a:solidFill>
                <a:latin typeface="Arial" pitchFamily="34" charset="0"/>
                <a:cs typeface="Arial" pitchFamily="34" charset="0"/>
              </a:rPr>
              <a:t>6969425  900041 51521045 10544024</a:t>
            </a:r>
            <a:endParaRPr lang="en-GB" sz="2133" dirty="0">
              <a:solidFill>
                <a:schemeClr val="bg1">
                  <a:alpha val="27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hteck 633"/>
          <p:cNvSpPr/>
          <p:nvPr/>
        </p:nvSpPr>
        <p:spPr bwMode="gray">
          <a:xfrm>
            <a:off x="3215680" y="4613515"/>
            <a:ext cx="432048" cy="38404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400"/>
              </a:spcBef>
            </a:pPr>
            <a:r>
              <a:rPr lang="en-GB" sz="2133">
                <a:solidFill>
                  <a:schemeClr val="bg1">
                    <a:alpha val="27000"/>
                  </a:schemeClr>
                </a:solidFill>
                <a:latin typeface="Arial" pitchFamily="34" charset="0"/>
                <a:cs typeface="Arial" pitchFamily="34" charset="0"/>
              </a:rPr>
              <a:t>512511255 62599 405045565437346421</a:t>
            </a:r>
            <a:endParaRPr lang="en-GB" sz="2133" dirty="0">
              <a:solidFill>
                <a:schemeClr val="bg1">
                  <a:alpha val="27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reeform 41"/>
          <p:cNvSpPr>
            <a:spLocks/>
          </p:cNvSpPr>
          <p:nvPr/>
        </p:nvSpPr>
        <p:spPr bwMode="auto">
          <a:xfrm>
            <a:off x="6060018" y="2508251"/>
            <a:ext cx="4984749" cy="2360083"/>
          </a:xfrm>
          <a:custGeom>
            <a:avLst/>
            <a:gdLst>
              <a:gd name="T0" fmla="*/ 0 w 1172"/>
              <a:gd name="T1" fmla="*/ 0 h 555"/>
              <a:gd name="T2" fmla="*/ 0 w 1172"/>
              <a:gd name="T3" fmla="*/ 68 h 555"/>
              <a:gd name="T4" fmla="*/ 762 w 1172"/>
              <a:gd name="T5" fmla="*/ 236 h 555"/>
              <a:gd name="T6" fmla="*/ 397 w 1172"/>
              <a:gd name="T7" fmla="*/ 378 h 555"/>
              <a:gd name="T8" fmla="*/ 398 w 1172"/>
              <a:gd name="T9" fmla="*/ 462 h 555"/>
              <a:gd name="T10" fmla="*/ 529 w 1172"/>
              <a:gd name="T11" fmla="*/ 555 h 555"/>
              <a:gd name="T12" fmla="*/ 1172 w 1172"/>
              <a:gd name="T13" fmla="*/ 295 h 555"/>
              <a:gd name="T14" fmla="*/ 0 w 1172"/>
              <a:gd name="T15" fmla="*/ 0 h 5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72" h="555">
                <a:moveTo>
                  <a:pt x="0" y="0"/>
                </a:moveTo>
                <a:cubicBezTo>
                  <a:pt x="0" y="68"/>
                  <a:pt x="0" y="68"/>
                  <a:pt x="0" y="68"/>
                </a:cubicBezTo>
                <a:cubicBezTo>
                  <a:pt x="424" y="72"/>
                  <a:pt x="762" y="146"/>
                  <a:pt x="762" y="236"/>
                </a:cubicBezTo>
                <a:cubicBezTo>
                  <a:pt x="762" y="296"/>
                  <a:pt x="617" y="348"/>
                  <a:pt x="397" y="378"/>
                </a:cubicBezTo>
                <a:cubicBezTo>
                  <a:pt x="398" y="462"/>
                  <a:pt x="398" y="462"/>
                  <a:pt x="398" y="462"/>
                </a:cubicBezTo>
                <a:cubicBezTo>
                  <a:pt x="529" y="555"/>
                  <a:pt x="529" y="555"/>
                  <a:pt x="529" y="555"/>
                </a:cubicBezTo>
                <a:cubicBezTo>
                  <a:pt x="912" y="506"/>
                  <a:pt x="1172" y="408"/>
                  <a:pt x="1172" y="295"/>
                </a:cubicBezTo>
                <a:cubicBezTo>
                  <a:pt x="1172" y="135"/>
                  <a:pt x="651" y="4"/>
                  <a:pt x="0" y="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2400"/>
          </a:p>
        </p:txBody>
      </p:sp>
      <p:sp>
        <p:nvSpPr>
          <p:cNvPr id="17" name="Ellipse 51"/>
          <p:cNvSpPr/>
          <p:nvPr/>
        </p:nvSpPr>
        <p:spPr>
          <a:xfrm>
            <a:off x="4619084" y="1532467"/>
            <a:ext cx="2040835" cy="2040608"/>
          </a:xfrm>
          <a:prstGeom prst="ellipse">
            <a:avLst/>
          </a:prstGeom>
          <a:solidFill>
            <a:schemeClr val="bg1"/>
          </a:solidFill>
          <a:ln>
            <a:solidFill>
              <a:schemeClr val="bg2">
                <a:lumMod val="40000"/>
                <a:lumOff val="6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18" name="Freeform 102"/>
          <p:cNvSpPr/>
          <p:nvPr/>
        </p:nvSpPr>
        <p:spPr bwMode="gray">
          <a:xfrm rot="21305132">
            <a:off x="759769" y="2251200"/>
            <a:ext cx="4045553" cy="2631677"/>
          </a:xfrm>
          <a:custGeom>
            <a:avLst/>
            <a:gdLst>
              <a:gd name="connsiteX0" fmla="*/ 266885 w 3034165"/>
              <a:gd name="connsiteY0" fmla="*/ 1400141 h 1973758"/>
              <a:gd name="connsiteX1" fmla="*/ 266903 w 3034165"/>
              <a:gd name="connsiteY1" fmla="*/ 1400155 h 1973758"/>
              <a:gd name="connsiteX2" fmla="*/ 266901 w 3034165"/>
              <a:gd name="connsiteY2" fmla="*/ 1400155 h 1973758"/>
              <a:gd name="connsiteX3" fmla="*/ 266885 w 3034165"/>
              <a:gd name="connsiteY3" fmla="*/ 1400141 h 1973758"/>
              <a:gd name="connsiteX4" fmla="*/ 95157 w 3034165"/>
              <a:gd name="connsiteY4" fmla="*/ 984767 h 1973758"/>
              <a:gd name="connsiteX5" fmla="*/ 4617 w 3034165"/>
              <a:gd name="connsiteY5" fmla="*/ 996228 h 1973758"/>
              <a:gd name="connsiteX6" fmla="*/ 95157 w 3034165"/>
              <a:gd name="connsiteY6" fmla="*/ 984767 h 1973758"/>
              <a:gd name="connsiteX7" fmla="*/ 1429889 w 3034165"/>
              <a:gd name="connsiteY7" fmla="*/ 0 h 1973758"/>
              <a:gd name="connsiteX8" fmla="*/ 1581928 w 3034165"/>
              <a:gd name="connsiteY8" fmla="*/ 90662 h 1973758"/>
              <a:gd name="connsiteX9" fmla="*/ 1530042 w 3034165"/>
              <a:gd name="connsiteY9" fmla="*/ 245541 h 1973758"/>
              <a:gd name="connsiteX10" fmla="*/ 1506317 w 3034165"/>
              <a:gd name="connsiteY10" fmla="*/ 187375 h 1973758"/>
              <a:gd name="connsiteX11" fmla="*/ 425961 w 3034165"/>
              <a:gd name="connsiteY11" fmla="*/ 636345 h 1973758"/>
              <a:gd name="connsiteX12" fmla="*/ 2798056 w 3034165"/>
              <a:gd name="connsiteY12" fmla="*/ 370400 h 1973758"/>
              <a:gd name="connsiteX13" fmla="*/ 2884424 w 3034165"/>
              <a:gd name="connsiteY13" fmla="*/ 371423 h 1973758"/>
              <a:gd name="connsiteX14" fmla="*/ 2873450 w 3034165"/>
              <a:gd name="connsiteY14" fmla="*/ 312857 h 1973758"/>
              <a:gd name="connsiteX15" fmla="*/ 3034165 w 3034165"/>
              <a:gd name="connsiteY15" fmla="*/ 454727 h 1973758"/>
              <a:gd name="connsiteX16" fmla="*/ 2916975 w 3034165"/>
              <a:gd name="connsiteY16" fmla="*/ 588708 h 1973758"/>
              <a:gd name="connsiteX17" fmla="*/ 2900463 w 3034165"/>
              <a:gd name="connsiteY17" fmla="*/ 520061 h 1973758"/>
              <a:gd name="connsiteX18" fmla="*/ 2817273 w 3034165"/>
              <a:gd name="connsiteY18" fmla="*/ 519311 h 1973758"/>
              <a:gd name="connsiteX19" fmla="*/ 1321926 w 3034165"/>
              <a:gd name="connsiteY19" fmla="*/ 928549 h 1973758"/>
              <a:gd name="connsiteX20" fmla="*/ 2120565 w 3034165"/>
              <a:gd name="connsiteY20" fmla="*/ 1397379 h 1973758"/>
              <a:gd name="connsiteX21" fmla="*/ 1875038 w 3034165"/>
              <a:gd name="connsiteY21" fmla="*/ 1571546 h 1973758"/>
              <a:gd name="connsiteX22" fmla="*/ 1859864 w 3034165"/>
              <a:gd name="connsiteY22" fmla="*/ 1599053 h 1973758"/>
              <a:gd name="connsiteX23" fmla="*/ 1824443 w 3034165"/>
              <a:gd name="connsiteY23" fmla="*/ 1973758 h 1973758"/>
              <a:gd name="connsiteX24" fmla="*/ 2658 w 3034165"/>
              <a:gd name="connsiteY24" fmla="*/ 1005525 h 1973758"/>
              <a:gd name="connsiteX25" fmla="*/ 1308 w 3034165"/>
              <a:gd name="connsiteY25" fmla="*/ 1011932 h 1973758"/>
              <a:gd name="connsiteX26" fmla="*/ 0 w 3034165"/>
              <a:gd name="connsiteY26" fmla="*/ 996601 h 1973758"/>
              <a:gd name="connsiteX27" fmla="*/ 1449899 w 3034165"/>
              <a:gd name="connsiteY27" fmla="*/ 49060 h 1973758"/>
              <a:gd name="connsiteX28" fmla="*/ 1429889 w 3034165"/>
              <a:gd name="connsiteY28" fmla="*/ 0 h 1973758"/>
              <a:gd name="connsiteX0" fmla="*/ 266885 w 3034165"/>
              <a:gd name="connsiteY0" fmla="*/ 1400141 h 1973758"/>
              <a:gd name="connsiteX1" fmla="*/ 266903 w 3034165"/>
              <a:gd name="connsiteY1" fmla="*/ 1400155 h 1973758"/>
              <a:gd name="connsiteX2" fmla="*/ 266901 w 3034165"/>
              <a:gd name="connsiteY2" fmla="*/ 1400155 h 1973758"/>
              <a:gd name="connsiteX3" fmla="*/ 266885 w 3034165"/>
              <a:gd name="connsiteY3" fmla="*/ 1400141 h 1973758"/>
              <a:gd name="connsiteX4" fmla="*/ 1429889 w 3034165"/>
              <a:gd name="connsiteY4" fmla="*/ 0 h 1973758"/>
              <a:gd name="connsiteX5" fmla="*/ 1581928 w 3034165"/>
              <a:gd name="connsiteY5" fmla="*/ 90662 h 1973758"/>
              <a:gd name="connsiteX6" fmla="*/ 1530042 w 3034165"/>
              <a:gd name="connsiteY6" fmla="*/ 245541 h 1973758"/>
              <a:gd name="connsiteX7" fmla="*/ 1506317 w 3034165"/>
              <a:gd name="connsiteY7" fmla="*/ 187375 h 1973758"/>
              <a:gd name="connsiteX8" fmla="*/ 425961 w 3034165"/>
              <a:gd name="connsiteY8" fmla="*/ 636345 h 1973758"/>
              <a:gd name="connsiteX9" fmla="*/ 2798056 w 3034165"/>
              <a:gd name="connsiteY9" fmla="*/ 370400 h 1973758"/>
              <a:gd name="connsiteX10" fmla="*/ 2884424 w 3034165"/>
              <a:gd name="connsiteY10" fmla="*/ 371423 h 1973758"/>
              <a:gd name="connsiteX11" fmla="*/ 2873450 w 3034165"/>
              <a:gd name="connsiteY11" fmla="*/ 312857 h 1973758"/>
              <a:gd name="connsiteX12" fmla="*/ 3034165 w 3034165"/>
              <a:gd name="connsiteY12" fmla="*/ 454727 h 1973758"/>
              <a:gd name="connsiteX13" fmla="*/ 2916975 w 3034165"/>
              <a:gd name="connsiteY13" fmla="*/ 588708 h 1973758"/>
              <a:gd name="connsiteX14" fmla="*/ 2900463 w 3034165"/>
              <a:gd name="connsiteY14" fmla="*/ 520061 h 1973758"/>
              <a:gd name="connsiteX15" fmla="*/ 2817273 w 3034165"/>
              <a:gd name="connsiteY15" fmla="*/ 519311 h 1973758"/>
              <a:gd name="connsiteX16" fmla="*/ 1321926 w 3034165"/>
              <a:gd name="connsiteY16" fmla="*/ 928549 h 1973758"/>
              <a:gd name="connsiteX17" fmla="*/ 2120565 w 3034165"/>
              <a:gd name="connsiteY17" fmla="*/ 1397379 h 1973758"/>
              <a:gd name="connsiteX18" fmla="*/ 1875038 w 3034165"/>
              <a:gd name="connsiteY18" fmla="*/ 1571546 h 1973758"/>
              <a:gd name="connsiteX19" fmla="*/ 1859864 w 3034165"/>
              <a:gd name="connsiteY19" fmla="*/ 1599053 h 1973758"/>
              <a:gd name="connsiteX20" fmla="*/ 1824443 w 3034165"/>
              <a:gd name="connsiteY20" fmla="*/ 1973758 h 1973758"/>
              <a:gd name="connsiteX21" fmla="*/ 2658 w 3034165"/>
              <a:gd name="connsiteY21" fmla="*/ 1005525 h 1973758"/>
              <a:gd name="connsiteX22" fmla="*/ 1308 w 3034165"/>
              <a:gd name="connsiteY22" fmla="*/ 1011932 h 1973758"/>
              <a:gd name="connsiteX23" fmla="*/ 0 w 3034165"/>
              <a:gd name="connsiteY23" fmla="*/ 996601 h 1973758"/>
              <a:gd name="connsiteX24" fmla="*/ 1449899 w 3034165"/>
              <a:gd name="connsiteY24" fmla="*/ 49060 h 1973758"/>
              <a:gd name="connsiteX25" fmla="*/ 1429889 w 3034165"/>
              <a:gd name="connsiteY25" fmla="*/ 0 h 1973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034165" h="1973758">
                <a:moveTo>
                  <a:pt x="266885" y="1400141"/>
                </a:moveTo>
                <a:lnTo>
                  <a:pt x="266903" y="1400155"/>
                </a:lnTo>
                <a:lnTo>
                  <a:pt x="266901" y="1400155"/>
                </a:lnTo>
                <a:cubicBezTo>
                  <a:pt x="266896" y="1400150"/>
                  <a:pt x="266890" y="1400146"/>
                  <a:pt x="266885" y="1400141"/>
                </a:cubicBezTo>
                <a:close/>
                <a:moveTo>
                  <a:pt x="1429889" y="0"/>
                </a:moveTo>
                <a:lnTo>
                  <a:pt x="1581928" y="90662"/>
                </a:lnTo>
                <a:lnTo>
                  <a:pt x="1530042" y="245541"/>
                </a:lnTo>
                <a:lnTo>
                  <a:pt x="1506317" y="187375"/>
                </a:lnTo>
                <a:cubicBezTo>
                  <a:pt x="988584" y="242498"/>
                  <a:pt x="576350" y="414350"/>
                  <a:pt x="425961" y="636345"/>
                </a:cubicBezTo>
                <a:cubicBezTo>
                  <a:pt x="911674" y="448512"/>
                  <a:pt x="1775217" y="351429"/>
                  <a:pt x="2798056" y="370400"/>
                </a:cubicBezTo>
                <a:cubicBezTo>
                  <a:pt x="2826663" y="372860"/>
                  <a:pt x="2855544" y="372142"/>
                  <a:pt x="2884424" y="371423"/>
                </a:cubicBezTo>
                <a:lnTo>
                  <a:pt x="2873450" y="312857"/>
                </a:lnTo>
                <a:lnTo>
                  <a:pt x="3034165" y="454727"/>
                </a:lnTo>
                <a:lnTo>
                  <a:pt x="2916975" y="588708"/>
                </a:lnTo>
                <a:cubicBezTo>
                  <a:pt x="2916975" y="588708"/>
                  <a:pt x="2903641" y="520335"/>
                  <a:pt x="2900463" y="520061"/>
                </a:cubicBezTo>
                <a:cubicBezTo>
                  <a:pt x="2871582" y="520779"/>
                  <a:pt x="2846153" y="518593"/>
                  <a:pt x="2817273" y="519311"/>
                </a:cubicBezTo>
                <a:cubicBezTo>
                  <a:pt x="1963021" y="548299"/>
                  <a:pt x="1339960" y="718815"/>
                  <a:pt x="1321926" y="928549"/>
                </a:cubicBezTo>
                <a:cubicBezTo>
                  <a:pt x="1308264" y="1087438"/>
                  <a:pt x="1617280" y="1254865"/>
                  <a:pt x="2120565" y="1397379"/>
                </a:cubicBezTo>
                <a:lnTo>
                  <a:pt x="1875038" y="1571546"/>
                </a:lnTo>
                <a:cubicBezTo>
                  <a:pt x="1864682" y="1580259"/>
                  <a:pt x="1860684" y="1589519"/>
                  <a:pt x="1859864" y="1599053"/>
                </a:cubicBezTo>
                <a:lnTo>
                  <a:pt x="1824443" y="1973758"/>
                </a:lnTo>
                <a:cubicBezTo>
                  <a:pt x="708455" y="1714777"/>
                  <a:pt x="-24753" y="1348271"/>
                  <a:pt x="2658" y="1005525"/>
                </a:cubicBezTo>
                <a:cubicBezTo>
                  <a:pt x="1728" y="1007603"/>
                  <a:pt x="1503" y="1009765"/>
                  <a:pt x="1308" y="1011932"/>
                </a:cubicBezTo>
                <a:cubicBezTo>
                  <a:pt x="108" y="1006909"/>
                  <a:pt x="0" y="1001786"/>
                  <a:pt x="0" y="996601"/>
                </a:cubicBezTo>
                <a:cubicBezTo>
                  <a:pt x="0" y="556289"/>
                  <a:pt x="625210" y="143487"/>
                  <a:pt x="1449899" y="49060"/>
                </a:cubicBezTo>
                <a:lnTo>
                  <a:pt x="1429889" y="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de-DE" sz="2133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hteck 2305"/>
          <p:cNvSpPr/>
          <p:nvPr/>
        </p:nvSpPr>
        <p:spPr bwMode="gray">
          <a:xfrm rot="20040000">
            <a:off x="916619" y="2616783"/>
            <a:ext cx="2270652" cy="107249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none" lIns="0" tIns="60960" rIns="0" bIns="60960" numCol="1" spcCol="0" rtlCol="0" fromWordArt="0" anchor="ctr" anchorCtr="0" forceAA="0" compatLnSpc="1">
            <a:prstTxWarp prst="textArchUp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r>
              <a:rPr lang="en-GB" sz="1333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nufacturers</a:t>
            </a:r>
            <a:endParaRPr lang="de-DE" sz="1333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0" name="kasten"/>
          <p:cNvGrpSpPr/>
          <p:nvPr/>
        </p:nvGrpSpPr>
        <p:grpSpPr>
          <a:xfrm>
            <a:off x="6960096" y="2612909"/>
            <a:ext cx="3648395" cy="2029624"/>
            <a:chOff x="5220072" y="2489684"/>
            <a:chExt cx="2736296" cy="1522218"/>
          </a:xfrm>
          <a:noFill/>
        </p:grpSpPr>
        <p:sp>
          <p:nvSpPr>
            <p:cNvPr id="21" name="Abgerundetes Rechteck 361"/>
            <p:cNvSpPr/>
            <p:nvPr/>
          </p:nvSpPr>
          <p:spPr bwMode="gray">
            <a:xfrm>
              <a:off x="6768244" y="2823778"/>
              <a:ext cx="72000" cy="72000"/>
            </a:xfrm>
            <a:prstGeom prst="roundRect">
              <a:avLst/>
            </a:prstGeom>
            <a:grpFill/>
            <a:ln w="12700">
              <a:solidFill>
                <a:schemeClr val="bg1">
                  <a:alpha val="61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Abgerundetes Rechteck 252"/>
            <p:cNvSpPr/>
            <p:nvPr/>
          </p:nvSpPr>
          <p:spPr bwMode="gray">
            <a:xfrm>
              <a:off x="7344308" y="2967794"/>
              <a:ext cx="72000" cy="72000"/>
            </a:xfrm>
            <a:prstGeom prst="roundRect">
              <a:avLst/>
            </a:prstGeom>
            <a:grpFill/>
            <a:ln w="12700">
              <a:solidFill>
                <a:schemeClr val="bg1">
                  <a:alpha val="61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Abgerundetes Rechteck 253"/>
            <p:cNvSpPr/>
            <p:nvPr/>
          </p:nvSpPr>
          <p:spPr bwMode="gray">
            <a:xfrm>
              <a:off x="6876256" y="3435846"/>
              <a:ext cx="72000" cy="72000"/>
            </a:xfrm>
            <a:prstGeom prst="roundRect">
              <a:avLst/>
            </a:prstGeom>
            <a:grpFill/>
            <a:ln w="12700">
              <a:solidFill>
                <a:schemeClr val="bg1">
                  <a:alpha val="61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Abgerundetes Rechteck 254"/>
            <p:cNvSpPr/>
            <p:nvPr/>
          </p:nvSpPr>
          <p:spPr bwMode="gray">
            <a:xfrm>
              <a:off x="6588224" y="3939902"/>
              <a:ext cx="72000" cy="72000"/>
            </a:xfrm>
            <a:prstGeom prst="roundRect">
              <a:avLst/>
            </a:prstGeom>
            <a:grpFill/>
            <a:ln w="12700">
              <a:solidFill>
                <a:schemeClr val="bg1">
                  <a:alpha val="61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Abgerundetes Rechteck 255"/>
            <p:cNvSpPr/>
            <p:nvPr/>
          </p:nvSpPr>
          <p:spPr bwMode="gray">
            <a:xfrm>
              <a:off x="6444208" y="3507854"/>
              <a:ext cx="72000" cy="72000"/>
            </a:xfrm>
            <a:prstGeom prst="roundRect">
              <a:avLst/>
            </a:prstGeom>
            <a:grpFill/>
            <a:ln w="12700">
              <a:solidFill>
                <a:schemeClr val="bg1">
                  <a:alpha val="61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Abgerundetes Rechteck 256"/>
            <p:cNvSpPr/>
            <p:nvPr/>
          </p:nvSpPr>
          <p:spPr bwMode="gray">
            <a:xfrm>
              <a:off x="7884368" y="3507854"/>
              <a:ext cx="72000" cy="72000"/>
            </a:xfrm>
            <a:prstGeom prst="roundRect">
              <a:avLst/>
            </a:prstGeom>
            <a:grpFill/>
            <a:ln w="12700">
              <a:solidFill>
                <a:schemeClr val="bg1">
                  <a:alpha val="61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Abgerundetes Rechteck 257"/>
            <p:cNvSpPr/>
            <p:nvPr/>
          </p:nvSpPr>
          <p:spPr bwMode="gray">
            <a:xfrm>
              <a:off x="7776356" y="3039802"/>
              <a:ext cx="72000" cy="72000"/>
            </a:xfrm>
            <a:prstGeom prst="roundRect">
              <a:avLst/>
            </a:prstGeom>
            <a:grpFill/>
            <a:ln w="12700">
              <a:solidFill>
                <a:schemeClr val="bg1">
                  <a:alpha val="61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Abgerundetes Rechteck 259"/>
            <p:cNvSpPr/>
            <p:nvPr/>
          </p:nvSpPr>
          <p:spPr bwMode="gray">
            <a:xfrm>
              <a:off x="6228184" y="2561692"/>
              <a:ext cx="72000" cy="72000"/>
            </a:xfrm>
            <a:prstGeom prst="roundRect">
              <a:avLst/>
            </a:prstGeom>
            <a:grpFill/>
            <a:ln w="12700">
              <a:solidFill>
                <a:schemeClr val="bg1">
                  <a:alpha val="61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Abgerundetes Rechteck 303"/>
            <p:cNvSpPr/>
            <p:nvPr/>
          </p:nvSpPr>
          <p:spPr bwMode="gray">
            <a:xfrm>
              <a:off x="5796136" y="2489684"/>
              <a:ext cx="72000" cy="72000"/>
            </a:xfrm>
            <a:prstGeom prst="roundRect">
              <a:avLst/>
            </a:prstGeom>
            <a:grpFill/>
            <a:ln w="12700">
              <a:solidFill>
                <a:schemeClr val="bg1">
                  <a:alpha val="61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Abgerundetes Rechteck 305"/>
            <p:cNvSpPr/>
            <p:nvPr/>
          </p:nvSpPr>
          <p:spPr bwMode="gray">
            <a:xfrm>
              <a:off x="5220072" y="2525688"/>
              <a:ext cx="72000" cy="72000"/>
            </a:xfrm>
            <a:prstGeom prst="roundRect">
              <a:avLst/>
            </a:prstGeom>
            <a:grpFill/>
            <a:ln w="12700">
              <a:solidFill>
                <a:schemeClr val="bg1">
                  <a:alpha val="61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Abgerundetes Rechteck 306"/>
            <p:cNvSpPr/>
            <p:nvPr/>
          </p:nvSpPr>
          <p:spPr bwMode="gray">
            <a:xfrm>
              <a:off x="6300192" y="2705708"/>
              <a:ext cx="72000" cy="72000"/>
            </a:xfrm>
            <a:prstGeom prst="roundRect">
              <a:avLst/>
            </a:prstGeom>
            <a:grpFill/>
            <a:ln w="12700">
              <a:solidFill>
                <a:schemeClr val="bg1">
                  <a:alpha val="61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Abgerundetes Rechteck 418"/>
            <p:cNvSpPr/>
            <p:nvPr/>
          </p:nvSpPr>
          <p:spPr bwMode="gray">
            <a:xfrm>
              <a:off x="7812360" y="3317784"/>
              <a:ext cx="72000" cy="72000"/>
            </a:xfrm>
            <a:prstGeom prst="roundRect">
              <a:avLst/>
            </a:prstGeom>
            <a:grpFill/>
            <a:ln w="12700">
              <a:solidFill>
                <a:schemeClr val="bg1">
                  <a:alpha val="61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Abgerundetes Rechteck 419"/>
            <p:cNvSpPr/>
            <p:nvPr/>
          </p:nvSpPr>
          <p:spPr bwMode="gray">
            <a:xfrm>
              <a:off x="7380312" y="3821840"/>
              <a:ext cx="72000" cy="72000"/>
            </a:xfrm>
            <a:prstGeom prst="roundRect">
              <a:avLst/>
            </a:prstGeom>
            <a:grpFill/>
            <a:ln w="12700">
              <a:solidFill>
                <a:schemeClr val="bg1">
                  <a:alpha val="61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4" name="Gruppieren 38"/>
          <p:cNvGrpSpPr/>
          <p:nvPr/>
        </p:nvGrpSpPr>
        <p:grpSpPr>
          <a:xfrm>
            <a:off x="7104112" y="2360184"/>
            <a:ext cx="3749984" cy="2777736"/>
            <a:chOff x="5328084" y="2300140"/>
            <a:chExt cx="2812488" cy="2083302"/>
          </a:xfrm>
          <a:solidFill>
            <a:schemeClr val="bg1">
              <a:alpha val="61000"/>
            </a:schemeClr>
          </a:solidFill>
        </p:grpSpPr>
        <p:sp>
          <p:nvSpPr>
            <p:cNvPr id="35" name="Freeform 100"/>
            <p:cNvSpPr>
              <a:spLocks noEditPoints="1"/>
            </p:cNvSpPr>
            <p:nvPr/>
          </p:nvSpPr>
          <p:spPr bwMode="auto">
            <a:xfrm>
              <a:off x="7020272" y="2749020"/>
              <a:ext cx="270149" cy="290782"/>
            </a:xfrm>
            <a:custGeom>
              <a:avLst/>
              <a:gdLst>
                <a:gd name="T0" fmla="*/ 238 w 238"/>
                <a:gd name="T1" fmla="*/ 233 h 256"/>
                <a:gd name="T2" fmla="*/ 23 w 238"/>
                <a:gd name="T3" fmla="*/ 256 h 256"/>
                <a:gd name="T4" fmla="*/ 0 w 238"/>
                <a:gd name="T5" fmla="*/ 112 h 256"/>
                <a:gd name="T6" fmla="*/ 38 w 238"/>
                <a:gd name="T7" fmla="*/ 88 h 256"/>
                <a:gd name="T8" fmla="*/ 160 w 238"/>
                <a:gd name="T9" fmla="*/ 22 h 256"/>
                <a:gd name="T10" fmla="*/ 166 w 238"/>
                <a:gd name="T11" fmla="*/ 32 h 256"/>
                <a:gd name="T12" fmla="*/ 215 w 238"/>
                <a:gd name="T13" fmla="*/ 88 h 256"/>
                <a:gd name="T14" fmla="*/ 226 w 238"/>
                <a:gd name="T15" fmla="*/ 112 h 256"/>
                <a:gd name="T16" fmla="*/ 23 w 238"/>
                <a:gd name="T17" fmla="*/ 101 h 256"/>
                <a:gd name="T18" fmla="*/ 12 w 238"/>
                <a:gd name="T19" fmla="*/ 233 h 256"/>
                <a:gd name="T20" fmla="*/ 215 w 238"/>
                <a:gd name="T21" fmla="*/ 244 h 256"/>
                <a:gd name="T22" fmla="*/ 226 w 238"/>
                <a:gd name="T23" fmla="*/ 112 h 256"/>
                <a:gd name="T24" fmla="*/ 21 w 238"/>
                <a:gd name="T25" fmla="*/ 108 h 256"/>
                <a:gd name="T26" fmla="*/ 218 w 238"/>
                <a:gd name="T27" fmla="*/ 132 h 256"/>
                <a:gd name="T28" fmla="*/ 21 w 238"/>
                <a:gd name="T29" fmla="*/ 108 h 256"/>
                <a:gd name="T30" fmla="*/ 79 w 238"/>
                <a:gd name="T31" fmla="*/ 126 h 256"/>
                <a:gd name="T32" fmla="*/ 211 w 238"/>
                <a:gd name="T33" fmla="*/ 114 h 256"/>
                <a:gd name="T34" fmla="*/ 79 w 238"/>
                <a:gd name="T35" fmla="*/ 126 h 256"/>
                <a:gd name="T36" fmla="*/ 27 w 238"/>
                <a:gd name="T37" fmla="*/ 126 h 256"/>
                <a:gd name="T38" fmla="*/ 72 w 238"/>
                <a:gd name="T39" fmla="*/ 114 h 256"/>
                <a:gd name="T40" fmla="*/ 27 w 238"/>
                <a:gd name="T41" fmla="*/ 126 h 256"/>
                <a:gd name="T42" fmla="*/ 97 w 238"/>
                <a:gd name="T43" fmla="*/ 199 h 256"/>
                <a:gd name="T44" fmla="*/ 21 w 238"/>
                <a:gd name="T45" fmla="*/ 199 h 256"/>
                <a:gd name="T46" fmla="*/ 97 w 238"/>
                <a:gd name="T47" fmla="*/ 199 h 256"/>
                <a:gd name="T48" fmla="*/ 59 w 238"/>
                <a:gd name="T49" fmla="*/ 168 h 256"/>
                <a:gd name="T50" fmla="*/ 59 w 238"/>
                <a:gd name="T51" fmla="*/ 231 h 256"/>
                <a:gd name="T52" fmla="*/ 110 w 238"/>
                <a:gd name="T53" fmla="*/ 184 h 256"/>
                <a:gd name="T54" fmla="*/ 215 w 238"/>
                <a:gd name="T55" fmla="*/ 177 h 256"/>
                <a:gd name="T56" fmla="*/ 110 w 238"/>
                <a:gd name="T57" fmla="*/ 184 h 256"/>
                <a:gd name="T58" fmla="*/ 110 w 238"/>
                <a:gd name="T59" fmla="*/ 200 h 256"/>
                <a:gd name="T60" fmla="*/ 215 w 238"/>
                <a:gd name="T61" fmla="*/ 195 h 256"/>
                <a:gd name="T62" fmla="*/ 110 w 238"/>
                <a:gd name="T63" fmla="*/ 200 h 256"/>
                <a:gd name="T64" fmla="*/ 110 w 238"/>
                <a:gd name="T65" fmla="*/ 218 h 256"/>
                <a:gd name="T66" fmla="*/ 215 w 238"/>
                <a:gd name="T67" fmla="*/ 213 h 256"/>
                <a:gd name="T68" fmla="*/ 110 w 238"/>
                <a:gd name="T69" fmla="*/ 218 h 256"/>
                <a:gd name="T70" fmla="*/ 180 w 238"/>
                <a:gd name="T71" fmla="*/ 23 h 256"/>
                <a:gd name="T72" fmla="*/ 200 w 238"/>
                <a:gd name="T73" fmla="*/ 13 h 256"/>
                <a:gd name="T74" fmla="*/ 195 w 238"/>
                <a:gd name="T75" fmla="*/ 2 h 256"/>
                <a:gd name="T76" fmla="*/ 175 w 238"/>
                <a:gd name="T77" fmla="*/ 2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8" h="256">
                  <a:moveTo>
                    <a:pt x="238" y="112"/>
                  </a:moveTo>
                  <a:cubicBezTo>
                    <a:pt x="238" y="233"/>
                    <a:pt x="238" y="233"/>
                    <a:pt x="238" y="233"/>
                  </a:cubicBezTo>
                  <a:cubicBezTo>
                    <a:pt x="238" y="245"/>
                    <a:pt x="227" y="256"/>
                    <a:pt x="215" y="256"/>
                  </a:cubicBezTo>
                  <a:cubicBezTo>
                    <a:pt x="23" y="256"/>
                    <a:pt x="23" y="256"/>
                    <a:pt x="23" y="256"/>
                  </a:cubicBezTo>
                  <a:cubicBezTo>
                    <a:pt x="10" y="256"/>
                    <a:pt x="0" y="245"/>
                    <a:pt x="0" y="23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99"/>
                    <a:pt x="10" y="88"/>
                    <a:pt x="23" y="88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162" y="20"/>
                    <a:pt x="166" y="20"/>
                    <a:pt x="168" y="23"/>
                  </a:cubicBezTo>
                  <a:cubicBezTo>
                    <a:pt x="170" y="27"/>
                    <a:pt x="170" y="31"/>
                    <a:pt x="166" y="32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215" y="88"/>
                    <a:pt x="215" y="88"/>
                    <a:pt x="215" y="88"/>
                  </a:cubicBezTo>
                  <a:cubicBezTo>
                    <a:pt x="227" y="88"/>
                    <a:pt x="238" y="99"/>
                    <a:pt x="238" y="112"/>
                  </a:cubicBezTo>
                  <a:close/>
                  <a:moveTo>
                    <a:pt x="226" y="112"/>
                  </a:moveTo>
                  <a:cubicBezTo>
                    <a:pt x="226" y="106"/>
                    <a:pt x="222" y="101"/>
                    <a:pt x="215" y="101"/>
                  </a:cubicBezTo>
                  <a:cubicBezTo>
                    <a:pt x="23" y="101"/>
                    <a:pt x="23" y="101"/>
                    <a:pt x="23" y="101"/>
                  </a:cubicBezTo>
                  <a:cubicBezTo>
                    <a:pt x="16" y="101"/>
                    <a:pt x="12" y="106"/>
                    <a:pt x="12" y="112"/>
                  </a:cubicBezTo>
                  <a:cubicBezTo>
                    <a:pt x="12" y="233"/>
                    <a:pt x="12" y="233"/>
                    <a:pt x="12" y="233"/>
                  </a:cubicBezTo>
                  <a:cubicBezTo>
                    <a:pt x="12" y="238"/>
                    <a:pt x="16" y="244"/>
                    <a:pt x="23" y="244"/>
                  </a:cubicBezTo>
                  <a:cubicBezTo>
                    <a:pt x="215" y="244"/>
                    <a:pt x="215" y="244"/>
                    <a:pt x="215" y="244"/>
                  </a:cubicBezTo>
                  <a:cubicBezTo>
                    <a:pt x="222" y="244"/>
                    <a:pt x="226" y="238"/>
                    <a:pt x="226" y="233"/>
                  </a:cubicBezTo>
                  <a:cubicBezTo>
                    <a:pt x="226" y="112"/>
                    <a:pt x="226" y="112"/>
                    <a:pt x="226" y="112"/>
                  </a:cubicBezTo>
                  <a:cubicBezTo>
                    <a:pt x="226" y="112"/>
                    <a:pt x="226" y="112"/>
                    <a:pt x="226" y="112"/>
                  </a:cubicBezTo>
                  <a:close/>
                  <a:moveTo>
                    <a:pt x="21" y="108"/>
                  </a:moveTo>
                  <a:cubicBezTo>
                    <a:pt x="218" y="108"/>
                    <a:pt x="218" y="108"/>
                    <a:pt x="218" y="108"/>
                  </a:cubicBezTo>
                  <a:cubicBezTo>
                    <a:pt x="218" y="132"/>
                    <a:pt x="218" y="132"/>
                    <a:pt x="218" y="132"/>
                  </a:cubicBezTo>
                  <a:cubicBezTo>
                    <a:pt x="21" y="132"/>
                    <a:pt x="21" y="132"/>
                    <a:pt x="21" y="132"/>
                  </a:cubicBezTo>
                  <a:cubicBezTo>
                    <a:pt x="21" y="108"/>
                    <a:pt x="21" y="108"/>
                    <a:pt x="21" y="108"/>
                  </a:cubicBezTo>
                  <a:cubicBezTo>
                    <a:pt x="21" y="108"/>
                    <a:pt x="21" y="108"/>
                    <a:pt x="21" y="108"/>
                  </a:cubicBezTo>
                  <a:close/>
                  <a:moveTo>
                    <a:pt x="79" y="126"/>
                  </a:moveTo>
                  <a:cubicBezTo>
                    <a:pt x="211" y="126"/>
                    <a:pt x="211" y="126"/>
                    <a:pt x="211" y="126"/>
                  </a:cubicBezTo>
                  <a:cubicBezTo>
                    <a:pt x="211" y="114"/>
                    <a:pt x="211" y="114"/>
                    <a:pt x="211" y="114"/>
                  </a:cubicBezTo>
                  <a:cubicBezTo>
                    <a:pt x="79" y="114"/>
                    <a:pt x="79" y="114"/>
                    <a:pt x="79" y="114"/>
                  </a:cubicBezTo>
                  <a:cubicBezTo>
                    <a:pt x="79" y="126"/>
                    <a:pt x="79" y="126"/>
                    <a:pt x="79" y="126"/>
                  </a:cubicBezTo>
                  <a:cubicBezTo>
                    <a:pt x="79" y="126"/>
                    <a:pt x="79" y="126"/>
                    <a:pt x="79" y="126"/>
                  </a:cubicBezTo>
                  <a:close/>
                  <a:moveTo>
                    <a:pt x="27" y="126"/>
                  </a:moveTo>
                  <a:cubicBezTo>
                    <a:pt x="72" y="126"/>
                    <a:pt x="72" y="126"/>
                    <a:pt x="72" y="126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27" y="114"/>
                    <a:pt x="27" y="114"/>
                    <a:pt x="27" y="114"/>
                  </a:cubicBezTo>
                  <a:cubicBezTo>
                    <a:pt x="27" y="126"/>
                    <a:pt x="27" y="126"/>
                    <a:pt x="27" y="126"/>
                  </a:cubicBezTo>
                  <a:cubicBezTo>
                    <a:pt x="27" y="126"/>
                    <a:pt x="27" y="126"/>
                    <a:pt x="27" y="126"/>
                  </a:cubicBezTo>
                  <a:close/>
                  <a:moveTo>
                    <a:pt x="97" y="199"/>
                  </a:moveTo>
                  <a:cubicBezTo>
                    <a:pt x="97" y="220"/>
                    <a:pt x="79" y="236"/>
                    <a:pt x="59" y="236"/>
                  </a:cubicBezTo>
                  <a:cubicBezTo>
                    <a:pt x="38" y="236"/>
                    <a:pt x="21" y="220"/>
                    <a:pt x="21" y="199"/>
                  </a:cubicBezTo>
                  <a:cubicBezTo>
                    <a:pt x="21" y="179"/>
                    <a:pt x="38" y="161"/>
                    <a:pt x="59" y="161"/>
                  </a:cubicBezTo>
                  <a:cubicBezTo>
                    <a:pt x="79" y="161"/>
                    <a:pt x="97" y="179"/>
                    <a:pt x="97" y="199"/>
                  </a:cubicBezTo>
                  <a:close/>
                  <a:moveTo>
                    <a:pt x="90" y="199"/>
                  </a:moveTo>
                  <a:cubicBezTo>
                    <a:pt x="90" y="180"/>
                    <a:pt x="76" y="168"/>
                    <a:pt x="59" y="168"/>
                  </a:cubicBezTo>
                  <a:cubicBezTo>
                    <a:pt x="41" y="168"/>
                    <a:pt x="27" y="180"/>
                    <a:pt x="27" y="199"/>
                  </a:cubicBezTo>
                  <a:cubicBezTo>
                    <a:pt x="27" y="217"/>
                    <a:pt x="41" y="231"/>
                    <a:pt x="59" y="231"/>
                  </a:cubicBezTo>
                  <a:cubicBezTo>
                    <a:pt x="76" y="231"/>
                    <a:pt x="90" y="217"/>
                    <a:pt x="90" y="199"/>
                  </a:cubicBezTo>
                  <a:close/>
                  <a:moveTo>
                    <a:pt x="110" y="184"/>
                  </a:moveTo>
                  <a:cubicBezTo>
                    <a:pt x="215" y="184"/>
                    <a:pt x="215" y="184"/>
                    <a:pt x="215" y="184"/>
                  </a:cubicBezTo>
                  <a:cubicBezTo>
                    <a:pt x="215" y="177"/>
                    <a:pt x="215" y="177"/>
                    <a:pt x="215" y="177"/>
                  </a:cubicBezTo>
                  <a:cubicBezTo>
                    <a:pt x="110" y="177"/>
                    <a:pt x="110" y="177"/>
                    <a:pt x="110" y="177"/>
                  </a:cubicBezTo>
                  <a:cubicBezTo>
                    <a:pt x="110" y="184"/>
                    <a:pt x="110" y="184"/>
                    <a:pt x="110" y="184"/>
                  </a:cubicBezTo>
                  <a:cubicBezTo>
                    <a:pt x="110" y="184"/>
                    <a:pt x="110" y="184"/>
                    <a:pt x="110" y="184"/>
                  </a:cubicBezTo>
                  <a:close/>
                  <a:moveTo>
                    <a:pt x="110" y="200"/>
                  </a:moveTo>
                  <a:cubicBezTo>
                    <a:pt x="215" y="200"/>
                    <a:pt x="215" y="200"/>
                    <a:pt x="215" y="200"/>
                  </a:cubicBezTo>
                  <a:cubicBezTo>
                    <a:pt x="215" y="195"/>
                    <a:pt x="215" y="195"/>
                    <a:pt x="215" y="195"/>
                  </a:cubicBezTo>
                  <a:cubicBezTo>
                    <a:pt x="110" y="195"/>
                    <a:pt x="110" y="195"/>
                    <a:pt x="110" y="195"/>
                  </a:cubicBezTo>
                  <a:cubicBezTo>
                    <a:pt x="110" y="200"/>
                    <a:pt x="110" y="200"/>
                    <a:pt x="110" y="200"/>
                  </a:cubicBezTo>
                  <a:cubicBezTo>
                    <a:pt x="110" y="200"/>
                    <a:pt x="110" y="200"/>
                    <a:pt x="110" y="200"/>
                  </a:cubicBezTo>
                  <a:close/>
                  <a:moveTo>
                    <a:pt x="110" y="218"/>
                  </a:moveTo>
                  <a:cubicBezTo>
                    <a:pt x="215" y="218"/>
                    <a:pt x="215" y="218"/>
                    <a:pt x="215" y="218"/>
                  </a:cubicBezTo>
                  <a:cubicBezTo>
                    <a:pt x="215" y="213"/>
                    <a:pt x="215" y="213"/>
                    <a:pt x="215" y="213"/>
                  </a:cubicBezTo>
                  <a:cubicBezTo>
                    <a:pt x="110" y="213"/>
                    <a:pt x="110" y="213"/>
                    <a:pt x="110" y="213"/>
                  </a:cubicBezTo>
                  <a:cubicBezTo>
                    <a:pt x="110" y="218"/>
                    <a:pt x="110" y="218"/>
                    <a:pt x="110" y="218"/>
                  </a:cubicBezTo>
                  <a:cubicBezTo>
                    <a:pt x="110" y="218"/>
                    <a:pt x="110" y="218"/>
                    <a:pt x="110" y="218"/>
                  </a:cubicBezTo>
                  <a:close/>
                  <a:moveTo>
                    <a:pt x="180" y="23"/>
                  </a:moveTo>
                  <a:cubicBezTo>
                    <a:pt x="182" y="23"/>
                    <a:pt x="182" y="23"/>
                    <a:pt x="184" y="22"/>
                  </a:cubicBezTo>
                  <a:cubicBezTo>
                    <a:pt x="200" y="13"/>
                    <a:pt x="200" y="13"/>
                    <a:pt x="200" y="13"/>
                  </a:cubicBezTo>
                  <a:cubicBezTo>
                    <a:pt x="204" y="11"/>
                    <a:pt x="206" y="7"/>
                    <a:pt x="204" y="4"/>
                  </a:cubicBezTo>
                  <a:cubicBezTo>
                    <a:pt x="202" y="2"/>
                    <a:pt x="198" y="0"/>
                    <a:pt x="195" y="2"/>
                  </a:cubicBezTo>
                  <a:cubicBezTo>
                    <a:pt x="177" y="11"/>
                    <a:pt x="177" y="11"/>
                    <a:pt x="177" y="11"/>
                  </a:cubicBezTo>
                  <a:cubicBezTo>
                    <a:pt x="175" y="13"/>
                    <a:pt x="173" y="16"/>
                    <a:pt x="175" y="20"/>
                  </a:cubicBezTo>
                  <a:cubicBezTo>
                    <a:pt x="177" y="22"/>
                    <a:pt x="179" y="23"/>
                    <a:pt x="180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6" name="Freeform 104"/>
            <p:cNvSpPr>
              <a:spLocks noEditPoints="1"/>
            </p:cNvSpPr>
            <p:nvPr/>
          </p:nvSpPr>
          <p:spPr bwMode="auto">
            <a:xfrm>
              <a:off x="7014733" y="3111810"/>
              <a:ext cx="365579" cy="364295"/>
            </a:xfrm>
            <a:custGeom>
              <a:avLst/>
              <a:gdLst>
                <a:gd name="T0" fmla="*/ 250 w 250"/>
                <a:gd name="T1" fmla="*/ 234 h 249"/>
                <a:gd name="T2" fmla="*/ 15 w 250"/>
                <a:gd name="T3" fmla="*/ 249 h 249"/>
                <a:gd name="T4" fmla="*/ 0 w 250"/>
                <a:gd name="T5" fmla="*/ 79 h 249"/>
                <a:gd name="T6" fmla="*/ 234 w 250"/>
                <a:gd name="T7" fmla="*/ 64 h 249"/>
                <a:gd name="T8" fmla="*/ 242 w 250"/>
                <a:gd name="T9" fmla="*/ 79 h 249"/>
                <a:gd name="T10" fmla="*/ 15 w 250"/>
                <a:gd name="T11" fmla="*/ 72 h 249"/>
                <a:gd name="T12" fmla="*/ 8 w 250"/>
                <a:gd name="T13" fmla="*/ 234 h 249"/>
                <a:gd name="T14" fmla="*/ 234 w 250"/>
                <a:gd name="T15" fmla="*/ 241 h 249"/>
                <a:gd name="T16" fmla="*/ 242 w 250"/>
                <a:gd name="T17" fmla="*/ 79 h 249"/>
                <a:gd name="T18" fmla="*/ 250 w 250"/>
                <a:gd name="T19" fmla="*/ 23 h 249"/>
                <a:gd name="T20" fmla="*/ 234 w 250"/>
                <a:gd name="T21" fmla="*/ 0 h 249"/>
                <a:gd name="T22" fmla="*/ 1 w 250"/>
                <a:gd name="T23" fmla="*/ 15 h 249"/>
                <a:gd name="T24" fmla="*/ 16 w 250"/>
                <a:gd name="T25" fmla="*/ 57 h 249"/>
                <a:gd name="T26" fmla="*/ 250 w 250"/>
                <a:gd name="T27" fmla="*/ 41 h 249"/>
                <a:gd name="T28" fmla="*/ 246 w 250"/>
                <a:gd name="T29" fmla="*/ 34 h 249"/>
                <a:gd name="T30" fmla="*/ 242 w 250"/>
                <a:gd name="T31" fmla="*/ 41 h 249"/>
                <a:gd name="T32" fmla="*/ 16 w 250"/>
                <a:gd name="T33" fmla="*/ 49 h 249"/>
                <a:gd name="T34" fmla="*/ 9 w 250"/>
                <a:gd name="T35" fmla="*/ 15 h 249"/>
                <a:gd name="T36" fmla="*/ 234 w 250"/>
                <a:gd name="T37" fmla="*/ 8 h 249"/>
                <a:gd name="T38" fmla="*/ 242 w 250"/>
                <a:gd name="T39" fmla="*/ 23 h 249"/>
                <a:gd name="T40" fmla="*/ 210 w 250"/>
                <a:gd name="T41" fmla="*/ 23 h 249"/>
                <a:gd name="T42" fmla="*/ 210 w 250"/>
                <a:gd name="T43" fmla="*/ 34 h 249"/>
                <a:gd name="T44" fmla="*/ 210 w 250"/>
                <a:gd name="T45" fmla="*/ 23 h 249"/>
                <a:gd name="T46" fmla="*/ 182 w 250"/>
                <a:gd name="T47" fmla="*/ 28 h 249"/>
                <a:gd name="T48" fmla="*/ 193 w 250"/>
                <a:gd name="T49" fmla="*/ 28 h 249"/>
                <a:gd name="T50" fmla="*/ 165 w 250"/>
                <a:gd name="T51" fmla="*/ 23 h 249"/>
                <a:gd name="T52" fmla="*/ 165 w 250"/>
                <a:gd name="T53" fmla="*/ 34 h 249"/>
                <a:gd name="T54" fmla="*/ 165 w 250"/>
                <a:gd name="T55" fmla="*/ 23 h 249"/>
                <a:gd name="T56" fmla="*/ 136 w 250"/>
                <a:gd name="T57" fmla="*/ 28 h 249"/>
                <a:gd name="T58" fmla="*/ 147 w 250"/>
                <a:gd name="T59" fmla="*/ 28 h 249"/>
                <a:gd name="T60" fmla="*/ 250 w 250"/>
                <a:gd name="T61" fmla="*/ 207 h 249"/>
                <a:gd name="T62" fmla="*/ 0 w 250"/>
                <a:gd name="T63" fmla="*/ 215 h 249"/>
                <a:gd name="T64" fmla="*/ 250 w 250"/>
                <a:gd name="T65" fmla="*/ 207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0" h="249">
                  <a:moveTo>
                    <a:pt x="250" y="79"/>
                  </a:moveTo>
                  <a:cubicBezTo>
                    <a:pt x="250" y="234"/>
                    <a:pt x="250" y="234"/>
                    <a:pt x="250" y="234"/>
                  </a:cubicBezTo>
                  <a:cubicBezTo>
                    <a:pt x="250" y="243"/>
                    <a:pt x="243" y="249"/>
                    <a:pt x="234" y="249"/>
                  </a:cubicBezTo>
                  <a:cubicBezTo>
                    <a:pt x="15" y="249"/>
                    <a:pt x="15" y="249"/>
                    <a:pt x="15" y="249"/>
                  </a:cubicBezTo>
                  <a:cubicBezTo>
                    <a:pt x="7" y="249"/>
                    <a:pt x="0" y="243"/>
                    <a:pt x="0" y="234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1"/>
                    <a:pt x="7" y="64"/>
                    <a:pt x="15" y="64"/>
                  </a:cubicBezTo>
                  <a:cubicBezTo>
                    <a:pt x="234" y="64"/>
                    <a:pt x="234" y="64"/>
                    <a:pt x="234" y="64"/>
                  </a:cubicBezTo>
                  <a:cubicBezTo>
                    <a:pt x="243" y="64"/>
                    <a:pt x="250" y="71"/>
                    <a:pt x="250" y="79"/>
                  </a:cubicBezTo>
                  <a:close/>
                  <a:moveTo>
                    <a:pt x="242" y="79"/>
                  </a:moveTo>
                  <a:cubicBezTo>
                    <a:pt x="242" y="75"/>
                    <a:pt x="238" y="72"/>
                    <a:pt x="234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1" y="72"/>
                    <a:pt x="8" y="75"/>
                    <a:pt x="8" y="79"/>
                  </a:cubicBezTo>
                  <a:cubicBezTo>
                    <a:pt x="8" y="234"/>
                    <a:pt x="8" y="234"/>
                    <a:pt x="8" y="234"/>
                  </a:cubicBezTo>
                  <a:cubicBezTo>
                    <a:pt x="8" y="238"/>
                    <a:pt x="11" y="241"/>
                    <a:pt x="15" y="241"/>
                  </a:cubicBezTo>
                  <a:cubicBezTo>
                    <a:pt x="234" y="241"/>
                    <a:pt x="234" y="241"/>
                    <a:pt x="234" y="241"/>
                  </a:cubicBezTo>
                  <a:cubicBezTo>
                    <a:pt x="238" y="241"/>
                    <a:pt x="242" y="238"/>
                    <a:pt x="242" y="234"/>
                  </a:cubicBezTo>
                  <a:lnTo>
                    <a:pt x="242" y="79"/>
                  </a:lnTo>
                  <a:close/>
                  <a:moveTo>
                    <a:pt x="246" y="27"/>
                  </a:moveTo>
                  <a:cubicBezTo>
                    <a:pt x="248" y="27"/>
                    <a:pt x="250" y="25"/>
                    <a:pt x="250" y="23"/>
                  </a:cubicBezTo>
                  <a:cubicBezTo>
                    <a:pt x="250" y="15"/>
                    <a:pt x="250" y="15"/>
                    <a:pt x="250" y="15"/>
                  </a:cubicBezTo>
                  <a:cubicBezTo>
                    <a:pt x="250" y="9"/>
                    <a:pt x="245" y="0"/>
                    <a:pt x="23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5" y="0"/>
                    <a:pt x="1" y="9"/>
                    <a:pt x="1" y="15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1" y="47"/>
                    <a:pt x="5" y="57"/>
                    <a:pt x="16" y="57"/>
                  </a:cubicBezTo>
                  <a:cubicBezTo>
                    <a:pt x="234" y="57"/>
                    <a:pt x="234" y="57"/>
                    <a:pt x="234" y="57"/>
                  </a:cubicBezTo>
                  <a:cubicBezTo>
                    <a:pt x="240" y="57"/>
                    <a:pt x="250" y="53"/>
                    <a:pt x="250" y="41"/>
                  </a:cubicBezTo>
                  <a:cubicBezTo>
                    <a:pt x="250" y="38"/>
                    <a:pt x="250" y="38"/>
                    <a:pt x="250" y="38"/>
                  </a:cubicBezTo>
                  <a:cubicBezTo>
                    <a:pt x="250" y="36"/>
                    <a:pt x="248" y="34"/>
                    <a:pt x="246" y="34"/>
                  </a:cubicBezTo>
                  <a:cubicBezTo>
                    <a:pt x="243" y="34"/>
                    <a:pt x="242" y="36"/>
                    <a:pt x="242" y="38"/>
                  </a:cubicBezTo>
                  <a:cubicBezTo>
                    <a:pt x="242" y="41"/>
                    <a:pt x="242" y="41"/>
                    <a:pt x="242" y="41"/>
                  </a:cubicBezTo>
                  <a:cubicBezTo>
                    <a:pt x="242" y="48"/>
                    <a:pt x="236" y="49"/>
                    <a:pt x="234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9" y="49"/>
                    <a:pt x="9" y="43"/>
                    <a:pt x="9" y="4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4"/>
                    <a:pt x="9" y="8"/>
                    <a:pt x="16" y="8"/>
                  </a:cubicBezTo>
                  <a:cubicBezTo>
                    <a:pt x="234" y="8"/>
                    <a:pt x="234" y="8"/>
                    <a:pt x="234" y="8"/>
                  </a:cubicBezTo>
                  <a:cubicBezTo>
                    <a:pt x="241" y="8"/>
                    <a:pt x="242" y="14"/>
                    <a:pt x="242" y="15"/>
                  </a:cubicBezTo>
                  <a:cubicBezTo>
                    <a:pt x="242" y="23"/>
                    <a:pt x="242" y="23"/>
                    <a:pt x="242" y="23"/>
                  </a:cubicBezTo>
                  <a:cubicBezTo>
                    <a:pt x="242" y="25"/>
                    <a:pt x="243" y="27"/>
                    <a:pt x="246" y="27"/>
                  </a:cubicBezTo>
                  <a:close/>
                  <a:moveTo>
                    <a:pt x="210" y="23"/>
                  </a:moveTo>
                  <a:cubicBezTo>
                    <a:pt x="207" y="23"/>
                    <a:pt x="204" y="25"/>
                    <a:pt x="204" y="28"/>
                  </a:cubicBezTo>
                  <a:cubicBezTo>
                    <a:pt x="204" y="31"/>
                    <a:pt x="207" y="34"/>
                    <a:pt x="210" y="34"/>
                  </a:cubicBezTo>
                  <a:cubicBezTo>
                    <a:pt x="213" y="34"/>
                    <a:pt x="216" y="31"/>
                    <a:pt x="216" y="28"/>
                  </a:cubicBezTo>
                  <a:cubicBezTo>
                    <a:pt x="216" y="25"/>
                    <a:pt x="213" y="23"/>
                    <a:pt x="210" y="23"/>
                  </a:cubicBezTo>
                  <a:close/>
                  <a:moveTo>
                    <a:pt x="187" y="23"/>
                  </a:moveTo>
                  <a:cubicBezTo>
                    <a:pt x="184" y="23"/>
                    <a:pt x="182" y="25"/>
                    <a:pt x="182" y="28"/>
                  </a:cubicBezTo>
                  <a:cubicBezTo>
                    <a:pt x="182" y="31"/>
                    <a:pt x="184" y="34"/>
                    <a:pt x="187" y="34"/>
                  </a:cubicBezTo>
                  <a:cubicBezTo>
                    <a:pt x="190" y="34"/>
                    <a:pt x="193" y="31"/>
                    <a:pt x="193" y="28"/>
                  </a:cubicBezTo>
                  <a:cubicBezTo>
                    <a:pt x="193" y="25"/>
                    <a:pt x="190" y="23"/>
                    <a:pt x="187" y="23"/>
                  </a:cubicBezTo>
                  <a:close/>
                  <a:moveTo>
                    <a:pt x="165" y="23"/>
                  </a:moveTo>
                  <a:cubicBezTo>
                    <a:pt x="161" y="23"/>
                    <a:pt x="159" y="25"/>
                    <a:pt x="159" y="28"/>
                  </a:cubicBezTo>
                  <a:cubicBezTo>
                    <a:pt x="159" y="31"/>
                    <a:pt x="161" y="34"/>
                    <a:pt x="165" y="34"/>
                  </a:cubicBezTo>
                  <a:cubicBezTo>
                    <a:pt x="168" y="34"/>
                    <a:pt x="170" y="31"/>
                    <a:pt x="170" y="28"/>
                  </a:cubicBezTo>
                  <a:cubicBezTo>
                    <a:pt x="170" y="25"/>
                    <a:pt x="168" y="23"/>
                    <a:pt x="165" y="23"/>
                  </a:cubicBezTo>
                  <a:close/>
                  <a:moveTo>
                    <a:pt x="142" y="23"/>
                  </a:moveTo>
                  <a:cubicBezTo>
                    <a:pt x="139" y="23"/>
                    <a:pt x="136" y="25"/>
                    <a:pt x="136" y="28"/>
                  </a:cubicBezTo>
                  <a:cubicBezTo>
                    <a:pt x="136" y="31"/>
                    <a:pt x="139" y="34"/>
                    <a:pt x="142" y="34"/>
                  </a:cubicBezTo>
                  <a:cubicBezTo>
                    <a:pt x="145" y="34"/>
                    <a:pt x="147" y="31"/>
                    <a:pt x="147" y="28"/>
                  </a:cubicBezTo>
                  <a:cubicBezTo>
                    <a:pt x="147" y="25"/>
                    <a:pt x="145" y="23"/>
                    <a:pt x="142" y="23"/>
                  </a:cubicBezTo>
                  <a:close/>
                  <a:moveTo>
                    <a:pt x="250" y="207"/>
                  </a:moveTo>
                  <a:cubicBezTo>
                    <a:pt x="0" y="207"/>
                    <a:pt x="0" y="207"/>
                    <a:pt x="0" y="207"/>
                  </a:cubicBezTo>
                  <a:cubicBezTo>
                    <a:pt x="0" y="215"/>
                    <a:pt x="0" y="215"/>
                    <a:pt x="0" y="215"/>
                  </a:cubicBezTo>
                  <a:cubicBezTo>
                    <a:pt x="250" y="215"/>
                    <a:pt x="250" y="215"/>
                    <a:pt x="250" y="215"/>
                  </a:cubicBezTo>
                  <a:lnTo>
                    <a:pt x="250" y="20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7" name="Freeform 108"/>
            <p:cNvSpPr>
              <a:spLocks noEditPoints="1"/>
            </p:cNvSpPr>
            <p:nvPr/>
          </p:nvSpPr>
          <p:spPr bwMode="auto">
            <a:xfrm>
              <a:off x="7380312" y="3435846"/>
              <a:ext cx="432048" cy="334514"/>
            </a:xfrm>
            <a:custGeom>
              <a:avLst/>
              <a:gdLst>
                <a:gd name="T0" fmla="*/ 42 w 336"/>
                <a:gd name="T1" fmla="*/ 149 h 260"/>
                <a:gd name="T2" fmla="*/ 42 w 336"/>
                <a:gd name="T3" fmla="*/ 128 h 260"/>
                <a:gd name="T4" fmla="*/ 42 w 336"/>
                <a:gd name="T5" fmla="*/ 145 h 260"/>
                <a:gd name="T6" fmla="*/ 42 w 336"/>
                <a:gd name="T7" fmla="*/ 132 h 260"/>
                <a:gd name="T8" fmla="*/ 42 w 336"/>
                <a:gd name="T9" fmla="*/ 145 h 260"/>
                <a:gd name="T10" fmla="*/ 72 w 336"/>
                <a:gd name="T11" fmla="*/ 149 h 260"/>
                <a:gd name="T12" fmla="*/ 72 w 336"/>
                <a:gd name="T13" fmla="*/ 128 h 260"/>
                <a:gd name="T14" fmla="*/ 72 w 336"/>
                <a:gd name="T15" fmla="*/ 145 h 260"/>
                <a:gd name="T16" fmla="*/ 72 w 336"/>
                <a:gd name="T17" fmla="*/ 132 h 260"/>
                <a:gd name="T18" fmla="*/ 72 w 336"/>
                <a:gd name="T19" fmla="*/ 145 h 260"/>
                <a:gd name="T20" fmla="*/ 233 w 336"/>
                <a:gd name="T21" fmla="*/ 30 h 260"/>
                <a:gd name="T22" fmla="*/ 106 w 336"/>
                <a:gd name="T23" fmla="*/ 32 h 260"/>
                <a:gd name="T24" fmla="*/ 106 w 336"/>
                <a:gd name="T25" fmla="*/ 28 h 260"/>
                <a:gd name="T26" fmla="*/ 231 w 336"/>
                <a:gd name="T27" fmla="*/ 53 h 260"/>
                <a:gd name="T28" fmla="*/ 231 w 336"/>
                <a:gd name="T29" fmla="*/ 57 h 260"/>
                <a:gd name="T30" fmla="*/ 104 w 336"/>
                <a:gd name="T31" fmla="*/ 55 h 260"/>
                <a:gd name="T32" fmla="*/ 231 w 336"/>
                <a:gd name="T33" fmla="*/ 53 h 260"/>
                <a:gd name="T34" fmla="*/ 208 w 336"/>
                <a:gd name="T35" fmla="*/ 80 h 260"/>
                <a:gd name="T36" fmla="*/ 106 w 336"/>
                <a:gd name="T37" fmla="*/ 82 h 260"/>
                <a:gd name="T38" fmla="*/ 106 w 336"/>
                <a:gd name="T39" fmla="*/ 78 h 260"/>
                <a:gd name="T40" fmla="*/ 331 w 336"/>
                <a:gd name="T41" fmla="*/ 152 h 260"/>
                <a:gd name="T42" fmla="*/ 336 w 336"/>
                <a:gd name="T43" fmla="*/ 118 h 260"/>
                <a:gd name="T44" fmla="*/ 261 w 336"/>
                <a:gd name="T45" fmla="*/ 100 h 260"/>
                <a:gd name="T46" fmla="*/ 76 w 336"/>
                <a:gd name="T47" fmla="*/ 0 h 260"/>
                <a:gd name="T48" fmla="*/ 18 w 336"/>
                <a:gd name="T49" fmla="*/ 100 h 260"/>
                <a:gd name="T50" fmla="*/ 0 w 336"/>
                <a:gd name="T51" fmla="*/ 218 h 260"/>
                <a:gd name="T52" fmla="*/ 76 w 336"/>
                <a:gd name="T53" fmla="*/ 235 h 260"/>
                <a:gd name="T54" fmla="*/ 261 w 336"/>
                <a:gd name="T55" fmla="*/ 260 h 260"/>
                <a:gd name="T56" fmla="*/ 319 w 336"/>
                <a:gd name="T57" fmla="*/ 235 h 260"/>
                <a:gd name="T58" fmla="*/ 336 w 336"/>
                <a:gd name="T59" fmla="*/ 188 h 260"/>
                <a:gd name="T60" fmla="*/ 331 w 336"/>
                <a:gd name="T61" fmla="*/ 183 h 260"/>
                <a:gd name="T62" fmla="*/ 326 w 336"/>
                <a:gd name="T63" fmla="*/ 188 h 260"/>
                <a:gd name="T64" fmla="*/ 319 w 336"/>
                <a:gd name="T65" fmla="*/ 225 h 260"/>
                <a:gd name="T66" fmla="*/ 261 w 336"/>
                <a:gd name="T67" fmla="*/ 175 h 260"/>
                <a:gd name="T68" fmla="*/ 76 w 336"/>
                <a:gd name="T69" fmla="*/ 225 h 260"/>
                <a:gd name="T70" fmla="*/ 11 w 336"/>
                <a:gd name="T71" fmla="*/ 218 h 260"/>
                <a:gd name="T72" fmla="*/ 18 w 336"/>
                <a:gd name="T73" fmla="*/ 110 h 260"/>
                <a:gd name="T74" fmla="*/ 261 w 336"/>
                <a:gd name="T75" fmla="*/ 110 h 260"/>
                <a:gd name="T76" fmla="*/ 326 w 336"/>
                <a:gd name="T77" fmla="*/ 118 h 260"/>
                <a:gd name="T78" fmla="*/ 331 w 336"/>
                <a:gd name="T79" fmla="*/ 152 h 260"/>
                <a:gd name="T80" fmla="*/ 86 w 336"/>
                <a:gd name="T81" fmla="*/ 185 h 260"/>
                <a:gd name="T82" fmla="*/ 251 w 336"/>
                <a:gd name="T83" fmla="*/ 225 h 260"/>
                <a:gd name="T84" fmla="*/ 251 w 336"/>
                <a:gd name="T85" fmla="*/ 250 h 260"/>
                <a:gd name="T86" fmla="*/ 86 w 336"/>
                <a:gd name="T87" fmla="*/ 235 h 260"/>
                <a:gd name="T88" fmla="*/ 86 w 336"/>
                <a:gd name="T89" fmla="*/ 225 h 260"/>
                <a:gd name="T90" fmla="*/ 86 w 336"/>
                <a:gd name="T91" fmla="*/ 10 h 260"/>
                <a:gd name="T92" fmla="*/ 251 w 336"/>
                <a:gd name="T93" fmla="*/ 100 h 260"/>
                <a:gd name="T94" fmla="*/ 86 w 336"/>
                <a:gd name="T95" fmla="*/ 100 h 260"/>
                <a:gd name="T96" fmla="*/ 104 w 336"/>
                <a:gd name="T97" fmla="*/ 230 h 260"/>
                <a:gd name="T98" fmla="*/ 181 w 336"/>
                <a:gd name="T99" fmla="*/ 228 h 260"/>
                <a:gd name="T100" fmla="*/ 181 w 336"/>
                <a:gd name="T101" fmla="*/ 232 h 260"/>
                <a:gd name="T102" fmla="*/ 106 w 336"/>
                <a:gd name="T103" fmla="*/ 207 h 260"/>
                <a:gd name="T104" fmla="*/ 106 w 336"/>
                <a:gd name="T105" fmla="*/ 203 h 260"/>
                <a:gd name="T106" fmla="*/ 233 w 336"/>
                <a:gd name="T107" fmla="*/ 205 h 260"/>
                <a:gd name="T108" fmla="*/ 106 w 336"/>
                <a:gd name="T109" fmla="*/ 207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36" h="260">
                  <a:moveTo>
                    <a:pt x="32" y="139"/>
                  </a:moveTo>
                  <a:cubicBezTo>
                    <a:pt x="32" y="144"/>
                    <a:pt x="36" y="149"/>
                    <a:pt x="42" y="149"/>
                  </a:cubicBezTo>
                  <a:cubicBezTo>
                    <a:pt x="48" y="149"/>
                    <a:pt x="53" y="144"/>
                    <a:pt x="53" y="139"/>
                  </a:cubicBezTo>
                  <a:cubicBezTo>
                    <a:pt x="53" y="133"/>
                    <a:pt x="48" y="128"/>
                    <a:pt x="42" y="128"/>
                  </a:cubicBezTo>
                  <a:cubicBezTo>
                    <a:pt x="36" y="128"/>
                    <a:pt x="32" y="133"/>
                    <a:pt x="32" y="139"/>
                  </a:cubicBezTo>
                  <a:close/>
                  <a:moveTo>
                    <a:pt x="42" y="145"/>
                  </a:moveTo>
                  <a:cubicBezTo>
                    <a:pt x="38" y="145"/>
                    <a:pt x="35" y="142"/>
                    <a:pt x="35" y="139"/>
                  </a:cubicBezTo>
                  <a:cubicBezTo>
                    <a:pt x="35" y="135"/>
                    <a:pt x="38" y="132"/>
                    <a:pt x="42" y="132"/>
                  </a:cubicBezTo>
                  <a:cubicBezTo>
                    <a:pt x="46" y="132"/>
                    <a:pt x="49" y="135"/>
                    <a:pt x="49" y="139"/>
                  </a:cubicBezTo>
                  <a:cubicBezTo>
                    <a:pt x="49" y="142"/>
                    <a:pt x="46" y="145"/>
                    <a:pt x="42" y="145"/>
                  </a:cubicBezTo>
                  <a:close/>
                  <a:moveTo>
                    <a:pt x="62" y="139"/>
                  </a:moveTo>
                  <a:cubicBezTo>
                    <a:pt x="62" y="144"/>
                    <a:pt x="67" y="149"/>
                    <a:pt x="72" y="149"/>
                  </a:cubicBezTo>
                  <a:cubicBezTo>
                    <a:pt x="78" y="149"/>
                    <a:pt x="83" y="144"/>
                    <a:pt x="83" y="139"/>
                  </a:cubicBezTo>
                  <a:cubicBezTo>
                    <a:pt x="83" y="133"/>
                    <a:pt x="78" y="128"/>
                    <a:pt x="72" y="128"/>
                  </a:cubicBezTo>
                  <a:cubicBezTo>
                    <a:pt x="67" y="128"/>
                    <a:pt x="62" y="133"/>
                    <a:pt x="62" y="139"/>
                  </a:cubicBezTo>
                  <a:close/>
                  <a:moveTo>
                    <a:pt x="72" y="145"/>
                  </a:moveTo>
                  <a:cubicBezTo>
                    <a:pt x="69" y="145"/>
                    <a:pt x="66" y="142"/>
                    <a:pt x="66" y="139"/>
                  </a:cubicBezTo>
                  <a:cubicBezTo>
                    <a:pt x="66" y="135"/>
                    <a:pt x="69" y="132"/>
                    <a:pt x="72" y="132"/>
                  </a:cubicBezTo>
                  <a:cubicBezTo>
                    <a:pt x="76" y="132"/>
                    <a:pt x="79" y="135"/>
                    <a:pt x="79" y="139"/>
                  </a:cubicBezTo>
                  <a:cubicBezTo>
                    <a:pt x="79" y="142"/>
                    <a:pt x="76" y="145"/>
                    <a:pt x="72" y="145"/>
                  </a:cubicBezTo>
                  <a:close/>
                  <a:moveTo>
                    <a:pt x="231" y="28"/>
                  </a:moveTo>
                  <a:cubicBezTo>
                    <a:pt x="232" y="28"/>
                    <a:pt x="233" y="29"/>
                    <a:pt x="233" y="30"/>
                  </a:cubicBezTo>
                  <a:cubicBezTo>
                    <a:pt x="233" y="31"/>
                    <a:pt x="232" y="32"/>
                    <a:pt x="231" y="32"/>
                  </a:cubicBezTo>
                  <a:cubicBezTo>
                    <a:pt x="231" y="32"/>
                    <a:pt x="231" y="32"/>
                    <a:pt x="106" y="32"/>
                  </a:cubicBezTo>
                  <a:cubicBezTo>
                    <a:pt x="105" y="32"/>
                    <a:pt x="104" y="31"/>
                    <a:pt x="104" y="30"/>
                  </a:cubicBezTo>
                  <a:cubicBezTo>
                    <a:pt x="104" y="29"/>
                    <a:pt x="105" y="28"/>
                    <a:pt x="106" y="28"/>
                  </a:cubicBezTo>
                  <a:cubicBezTo>
                    <a:pt x="106" y="28"/>
                    <a:pt x="106" y="28"/>
                    <a:pt x="231" y="28"/>
                  </a:cubicBezTo>
                  <a:close/>
                  <a:moveTo>
                    <a:pt x="231" y="53"/>
                  </a:moveTo>
                  <a:cubicBezTo>
                    <a:pt x="232" y="53"/>
                    <a:pt x="233" y="54"/>
                    <a:pt x="233" y="55"/>
                  </a:cubicBezTo>
                  <a:cubicBezTo>
                    <a:pt x="233" y="56"/>
                    <a:pt x="232" y="57"/>
                    <a:pt x="231" y="57"/>
                  </a:cubicBezTo>
                  <a:cubicBezTo>
                    <a:pt x="231" y="57"/>
                    <a:pt x="231" y="57"/>
                    <a:pt x="106" y="57"/>
                  </a:cubicBezTo>
                  <a:cubicBezTo>
                    <a:pt x="105" y="57"/>
                    <a:pt x="104" y="56"/>
                    <a:pt x="104" y="55"/>
                  </a:cubicBezTo>
                  <a:cubicBezTo>
                    <a:pt x="104" y="54"/>
                    <a:pt x="105" y="53"/>
                    <a:pt x="106" y="53"/>
                  </a:cubicBezTo>
                  <a:cubicBezTo>
                    <a:pt x="106" y="53"/>
                    <a:pt x="106" y="53"/>
                    <a:pt x="231" y="53"/>
                  </a:cubicBezTo>
                  <a:close/>
                  <a:moveTo>
                    <a:pt x="206" y="78"/>
                  </a:moveTo>
                  <a:cubicBezTo>
                    <a:pt x="207" y="78"/>
                    <a:pt x="208" y="79"/>
                    <a:pt x="208" y="80"/>
                  </a:cubicBezTo>
                  <a:cubicBezTo>
                    <a:pt x="208" y="81"/>
                    <a:pt x="207" y="82"/>
                    <a:pt x="206" y="82"/>
                  </a:cubicBezTo>
                  <a:cubicBezTo>
                    <a:pt x="206" y="82"/>
                    <a:pt x="206" y="82"/>
                    <a:pt x="106" y="82"/>
                  </a:cubicBezTo>
                  <a:cubicBezTo>
                    <a:pt x="105" y="82"/>
                    <a:pt x="104" y="81"/>
                    <a:pt x="104" y="80"/>
                  </a:cubicBezTo>
                  <a:cubicBezTo>
                    <a:pt x="104" y="79"/>
                    <a:pt x="105" y="78"/>
                    <a:pt x="106" y="78"/>
                  </a:cubicBezTo>
                  <a:cubicBezTo>
                    <a:pt x="106" y="78"/>
                    <a:pt x="106" y="78"/>
                    <a:pt x="206" y="78"/>
                  </a:cubicBezTo>
                  <a:close/>
                  <a:moveTo>
                    <a:pt x="331" y="152"/>
                  </a:moveTo>
                  <a:cubicBezTo>
                    <a:pt x="334" y="152"/>
                    <a:pt x="336" y="150"/>
                    <a:pt x="336" y="147"/>
                  </a:cubicBezTo>
                  <a:cubicBezTo>
                    <a:pt x="336" y="118"/>
                    <a:pt x="336" y="118"/>
                    <a:pt x="336" y="118"/>
                  </a:cubicBezTo>
                  <a:cubicBezTo>
                    <a:pt x="336" y="108"/>
                    <a:pt x="329" y="100"/>
                    <a:pt x="319" y="100"/>
                  </a:cubicBezTo>
                  <a:cubicBezTo>
                    <a:pt x="261" y="100"/>
                    <a:pt x="261" y="100"/>
                    <a:pt x="261" y="100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18" y="100"/>
                    <a:pt x="18" y="100"/>
                    <a:pt x="18" y="100"/>
                  </a:cubicBezTo>
                  <a:cubicBezTo>
                    <a:pt x="8" y="100"/>
                    <a:pt x="0" y="108"/>
                    <a:pt x="0" y="118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27"/>
                    <a:pt x="8" y="235"/>
                    <a:pt x="18" y="235"/>
                  </a:cubicBezTo>
                  <a:cubicBezTo>
                    <a:pt x="76" y="235"/>
                    <a:pt x="76" y="235"/>
                    <a:pt x="76" y="235"/>
                  </a:cubicBezTo>
                  <a:cubicBezTo>
                    <a:pt x="76" y="260"/>
                    <a:pt x="76" y="260"/>
                    <a:pt x="76" y="260"/>
                  </a:cubicBezTo>
                  <a:cubicBezTo>
                    <a:pt x="261" y="260"/>
                    <a:pt x="261" y="260"/>
                    <a:pt x="261" y="260"/>
                  </a:cubicBezTo>
                  <a:cubicBezTo>
                    <a:pt x="261" y="235"/>
                    <a:pt x="261" y="235"/>
                    <a:pt x="261" y="235"/>
                  </a:cubicBezTo>
                  <a:cubicBezTo>
                    <a:pt x="319" y="235"/>
                    <a:pt x="319" y="235"/>
                    <a:pt x="319" y="235"/>
                  </a:cubicBezTo>
                  <a:cubicBezTo>
                    <a:pt x="329" y="235"/>
                    <a:pt x="336" y="227"/>
                    <a:pt x="336" y="218"/>
                  </a:cubicBezTo>
                  <a:cubicBezTo>
                    <a:pt x="336" y="188"/>
                    <a:pt x="336" y="188"/>
                    <a:pt x="336" y="188"/>
                  </a:cubicBezTo>
                  <a:cubicBezTo>
                    <a:pt x="336" y="188"/>
                    <a:pt x="336" y="188"/>
                    <a:pt x="336" y="188"/>
                  </a:cubicBezTo>
                  <a:cubicBezTo>
                    <a:pt x="336" y="186"/>
                    <a:pt x="334" y="183"/>
                    <a:pt x="331" y="183"/>
                  </a:cubicBezTo>
                  <a:cubicBezTo>
                    <a:pt x="328" y="183"/>
                    <a:pt x="326" y="186"/>
                    <a:pt x="326" y="188"/>
                  </a:cubicBezTo>
                  <a:cubicBezTo>
                    <a:pt x="326" y="188"/>
                    <a:pt x="326" y="188"/>
                    <a:pt x="326" y="188"/>
                  </a:cubicBezTo>
                  <a:cubicBezTo>
                    <a:pt x="326" y="218"/>
                    <a:pt x="326" y="218"/>
                    <a:pt x="326" y="218"/>
                  </a:cubicBezTo>
                  <a:cubicBezTo>
                    <a:pt x="326" y="222"/>
                    <a:pt x="323" y="225"/>
                    <a:pt x="319" y="225"/>
                  </a:cubicBezTo>
                  <a:cubicBezTo>
                    <a:pt x="261" y="225"/>
                    <a:pt x="261" y="225"/>
                    <a:pt x="261" y="225"/>
                  </a:cubicBezTo>
                  <a:cubicBezTo>
                    <a:pt x="261" y="175"/>
                    <a:pt x="261" y="175"/>
                    <a:pt x="261" y="175"/>
                  </a:cubicBezTo>
                  <a:cubicBezTo>
                    <a:pt x="76" y="175"/>
                    <a:pt x="76" y="175"/>
                    <a:pt x="76" y="175"/>
                  </a:cubicBezTo>
                  <a:cubicBezTo>
                    <a:pt x="76" y="225"/>
                    <a:pt x="76" y="225"/>
                    <a:pt x="76" y="225"/>
                  </a:cubicBezTo>
                  <a:cubicBezTo>
                    <a:pt x="18" y="225"/>
                    <a:pt x="18" y="225"/>
                    <a:pt x="18" y="225"/>
                  </a:cubicBezTo>
                  <a:cubicBezTo>
                    <a:pt x="14" y="225"/>
                    <a:pt x="11" y="222"/>
                    <a:pt x="11" y="218"/>
                  </a:cubicBezTo>
                  <a:cubicBezTo>
                    <a:pt x="11" y="118"/>
                    <a:pt x="11" y="118"/>
                    <a:pt x="11" y="118"/>
                  </a:cubicBezTo>
                  <a:cubicBezTo>
                    <a:pt x="11" y="113"/>
                    <a:pt x="14" y="110"/>
                    <a:pt x="18" y="110"/>
                  </a:cubicBezTo>
                  <a:cubicBezTo>
                    <a:pt x="76" y="110"/>
                    <a:pt x="76" y="110"/>
                    <a:pt x="76" y="110"/>
                  </a:cubicBezTo>
                  <a:cubicBezTo>
                    <a:pt x="261" y="110"/>
                    <a:pt x="261" y="110"/>
                    <a:pt x="261" y="110"/>
                  </a:cubicBezTo>
                  <a:cubicBezTo>
                    <a:pt x="319" y="110"/>
                    <a:pt x="319" y="110"/>
                    <a:pt x="319" y="110"/>
                  </a:cubicBezTo>
                  <a:cubicBezTo>
                    <a:pt x="323" y="110"/>
                    <a:pt x="326" y="113"/>
                    <a:pt x="326" y="118"/>
                  </a:cubicBezTo>
                  <a:cubicBezTo>
                    <a:pt x="326" y="147"/>
                    <a:pt x="326" y="147"/>
                    <a:pt x="326" y="147"/>
                  </a:cubicBezTo>
                  <a:cubicBezTo>
                    <a:pt x="326" y="150"/>
                    <a:pt x="328" y="152"/>
                    <a:pt x="331" y="152"/>
                  </a:cubicBezTo>
                  <a:close/>
                  <a:moveTo>
                    <a:pt x="86" y="225"/>
                  </a:moveTo>
                  <a:cubicBezTo>
                    <a:pt x="86" y="185"/>
                    <a:pt x="86" y="185"/>
                    <a:pt x="86" y="185"/>
                  </a:cubicBezTo>
                  <a:cubicBezTo>
                    <a:pt x="251" y="185"/>
                    <a:pt x="251" y="185"/>
                    <a:pt x="251" y="185"/>
                  </a:cubicBezTo>
                  <a:cubicBezTo>
                    <a:pt x="251" y="225"/>
                    <a:pt x="251" y="225"/>
                    <a:pt x="251" y="225"/>
                  </a:cubicBezTo>
                  <a:cubicBezTo>
                    <a:pt x="251" y="235"/>
                    <a:pt x="251" y="235"/>
                    <a:pt x="251" y="235"/>
                  </a:cubicBezTo>
                  <a:cubicBezTo>
                    <a:pt x="251" y="250"/>
                    <a:pt x="251" y="250"/>
                    <a:pt x="251" y="250"/>
                  </a:cubicBezTo>
                  <a:cubicBezTo>
                    <a:pt x="86" y="250"/>
                    <a:pt x="86" y="250"/>
                    <a:pt x="86" y="250"/>
                  </a:cubicBezTo>
                  <a:cubicBezTo>
                    <a:pt x="86" y="235"/>
                    <a:pt x="86" y="235"/>
                    <a:pt x="86" y="235"/>
                  </a:cubicBezTo>
                  <a:cubicBezTo>
                    <a:pt x="86" y="225"/>
                    <a:pt x="86" y="225"/>
                    <a:pt x="86" y="225"/>
                  </a:cubicBezTo>
                  <a:cubicBezTo>
                    <a:pt x="86" y="225"/>
                    <a:pt x="86" y="225"/>
                    <a:pt x="86" y="225"/>
                  </a:cubicBezTo>
                  <a:close/>
                  <a:moveTo>
                    <a:pt x="86" y="100"/>
                  </a:moveTo>
                  <a:cubicBezTo>
                    <a:pt x="86" y="10"/>
                    <a:pt x="86" y="10"/>
                    <a:pt x="86" y="10"/>
                  </a:cubicBezTo>
                  <a:cubicBezTo>
                    <a:pt x="251" y="10"/>
                    <a:pt x="251" y="10"/>
                    <a:pt x="251" y="10"/>
                  </a:cubicBezTo>
                  <a:cubicBezTo>
                    <a:pt x="251" y="100"/>
                    <a:pt x="251" y="100"/>
                    <a:pt x="251" y="100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86" y="100"/>
                    <a:pt x="86" y="100"/>
                    <a:pt x="86" y="100"/>
                  </a:cubicBezTo>
                  <a:close/>
                  <a:moveTo>
                    <a:pt x="106" y="232"/>
                  </a:moveTo>
                  <a:cubicBezTo>
                    <a:pt x="105" y="232"/>
                    <a:pt x="104" y="231"/>
                    <a:pt x="104" y="230"/>
                  </a:cubicBezTo>
                  <a:cubicBezTo>
                    <a:pt x="104" y="229"/>
                    <a:pt x="105" y="228"/>
                    <a:pt x="106" y="228"/>
                  </a:cubicBezTo>
                  <a:cubicBezTo>
                    <a:pt x="106" y="228"/>
                    <a:pt x="106" y="228"/>
                    <a:pt x="181" y="228"/>
                  </a:cubicBezTo>
                  <a:cubicBezTo>
                    <a:pt x="182" y="228"/>
                    <a:pt x="183" y="229"/>
                    <a:pt x="183" y="230"/>
                  </a:cubicBezTo>
                  <a:cubicBezTo>
                    <a:pt x="183" y="231"/>
                    <a:pt x="182" y="232"/>
                    <a:pt x="181" y="232"/>
                  </a:cubicBezTo>
                  <a:cubicBezTo>
                    <a:pt x="181" y="232"/>
                    <a:pt x="181" y="232"/>
                    <a:pt x="106" y="232"/>
                  </a:cubicBezTo>
                  <a:close/>
                  <a:moveTo>
                    <a:pt x="106" y="207"/>
                  </a:moveTo>
                  <a:cubicBezTo>
                    <a:pt x="105" y="207"/>
                    <a:pt x="104" y="206"/>
                    <a:pt x="104" y="205"/>
                  </a:cubicBezTo>
                  <a:cubicBezTo>
                    <a:pt x="104" y="204"/>
                    <a:pt x="105" y="203"/>
                    <a:pt x="106" y="203"/>
                  </a:cubicBezTo>
                  <a:cubicBezTo>
                    <a:pt x="106" y="203"/>
                    <a:pt x="106" y="203"/>
                    <a:pt x="231" y="203"/>
                  </a:cubicBezTo>
                  <a:cubicBezTo>
                    <a:pt x="232" y="203"/>
                    <a:pt x="233" y="204"/>
                    <a:pt x="233" y="205"/>
                  </a:cubicBezTo>
                  <a:cubicBezTo>
                    <a:pt x="233" y="206"/>
                    <a:pt x="232" y="207"/>
                    <a:pt x="231" y="207"/>
                  </a:cubicBezTo>
                  <a:cubicBezTo>
                    <a:pt x="231" y="207"/>
                    <a:pt x="231" y="207"/>
                    <a:pt x="106" y="2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8" name="Freeform 112"/>
            <p:cNvSpPr>
              <a:spLocks noEditPoints="1"/>
            </p:cNvSpPr>
            <p:nvPr/>
          </p:nvSpPr>
          <p:spPr bwMode="auto">
            <a:xfrm>
              <a:off x="6732240" y="3903898"/>
              <a:ext cx="498124" cy="479544"/>
            </a:xfrm>
            <a:custGeom>
              <a:avLst/>
              <a:gdLst>
                <a:gd name="T0" fmla="*/ 280 w 280"/>
                <a:gd name="T1" fmla="*/ 185 h 269"/>
                <a:gd name="T2" fmla="*/ 185 w 280"/>
                <a:gd name="T3" fmla="*/ 201 h 269"/>
                <a:gd name="T4" fmla="*/ 178 w 280"/>
                <a:gd name="T5" fmla="*/ 231 h 269"/>
                <a:gd name="T6" fmla="*/ 219 w 280"/>
                <a:gd name="T7" fmla="*/ 238 h 269"/>
                <a:gd name="T8" fmla="*/ 235 w 280"/>
                <a:gd name="T9" fmla="*/ 253 h 269"/>
                <a:gd name="T10" fmla="*/ 60 w 280"/>
                <a:gd name="T11" fmla="*/ 269 h 269"/>
                <a:gd name="T12" fmla="*/ 45 w 280"/>
                <a:gd name="T13" fmla="*/ 253 h 269"/>
                <a:gd name="T14" fmla="*/ 60 w 280"/>
                <a:gd name="T15" fmla="*/ 238 h 269"/>
                <a:gd name="T16" fmla="*/ 102 w 280"/>
                <a:gd name="T17" fmla="*/ 231 h 269"/>
                <a:gd name="T18" fmla="*/ 95 w 280"/>
                <a:gd name="T19" fmla="*/ 201 h 269"/>
                <a:gd name="T20" fmla="*/ 0 w 280"/>
                <a:gd name="T21" fmla="*/ 185 h 269"/>
                <a:gd name="T22" fmla="*/ 15 w 280"/>
                <a:gd name="T23" fmla="*/ 0 h 269"/>
                <a:gd name="T24" fmla="*/ 223 w 280"/>
                <a:gd name="T25" fmla="*/ 4 h 269"/>
                <a:gd name="T26" fmla="*/ 15 w 280"/>
                <a:gd name="T27" fmla="*/ 8 h 269"/>
                <a:gd name="T28" fmla="*/ 8 w 280"/>
                <a:gd name="T29" fmla="*/ 185 h 269"/>
                <a:gd name="T30" fmla="*/ 95 w 280"/>
                <a:gd name="T31" fmla="*/ 193 h 269"/>
                <a:gd name="T32" fmla="*/ 110 w 280"/>
                <a:gd name="T33" fmla="*/ 208 h 269"/>
                <a:gd name="T34" fmla="*/ 95 w 280"/>
                <a:gd name="T35" fmla="*/ 246 h 269"/>
                <a:gd name="T36" fmla="*/ 53 w 280"/>
                <a:gd name="T37" fmla="*/ 253 h 269"/>
                <a:gd name="T38" fmla="*/ 219 w 280"/>
                <a:gd name="T39" fmla="*/ 261 h 269"/>
                <a:gd name="T40" fmla="*/ 219 w 280"/>
                <a:gd name="T41" fmla="*/ 246 h 269"/>
                <a:gd name="T42" fmla="*/ 170 w 280"/>
                <a:gd name="T43" fmla="*/ 231 h 269"/>
                <a:gd name="T44" fmla="*/ 174 w 280"/>
                <a:gd name="T45" fmla="*/ 197 h 269"/>
                <a:gd name="T46" fmla="*/ 264 w 280"/>
                <a:gd name="T47" fmla="*/ 193 h 269"/>
                <a:gd name="T48" fmla="*/ 272 w 280"/>
                <a:gd name="T49" fmla="*/ 15 h 269"/>
                <a:gd name="T50" fmla="*/ 242 w 280"/>
                <a:gd name="T51" fmla="*/ 8 h 269"/>
                <a:gd name="T52" fmla="*/ 242 w 280"/>
                <a:gd name="T53" fmla="*/ 0 h 269"/>
                <a:gd name="T54" fmla="*/ 280 w 280"/>
                <a:gd name="T55" fmla="*/ 15 h 269"/>
                <a:gd name="T56" fmla="*/ 34 w 280"/>
                <a:gd name="T57" fmla="*/ 34 h 269"/>
                <a:gd name="T58" fmla="*/ 246 w 280"/>
                <a:gd name="T59" fmla="*/ 178 h 269"/>
                <a:gd name="T60" fmla="*/ 38 w 280"/>
                <a:gd name="T61" fmla="*/ 38 h 269"/>
                <a:gd name="T62" fmla="*/ 242 w 280"/>
                <a:gd name="T63" fmla="*/ 174 h 269"/>
                <a:gd name="T64" fmla="*/ 38 w 280"/>
                <a:gd name="T65" fmla="*/ 3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0" h="269">
                  <a:moveTo>
                    <a:pt x="280" y="15"/>
                  </a:moveTo>
                  <a:cubicBezTo>
                    <a:pt x="280" y="185"/>
                    <a:pt x="280" y="185"/>
                    <a:pt x="280" y="185"/>
                  </a:cubicBezTo>
                  <a:cubicBezTo>
                    <a:pt x="280" y="196"/>
                    <a:pt x="275" y="201"/>
                    <a:pt x="264" y="201"/>
                  </a:cubicBezTo>
                  <a:cubicBezTo>
                    <a:pt x="185" y="201"/>
                    <a:pt x="185" y="201"/>
                    <a:pt x="185" y="201"/>
                  </a:cubicBezTo>
                  <a:cubicBezTo>
                    <a:pt x="178" y="201"/>
                    <a:pt x="178" y="206"/>
                    <a:pt x="178" y="208"/>
                  </a:cubicBezTo>
                  <a:cubicBezTo>
                    <a:pt x="178" y="231"/>
                    <a:pt x="178" y="231"/>
                    <a:pt x="178" y="231"/>
                  </a:cubicBezTo>
                  <a:cubicBezTo>
                    <a:pt x="178" y="233"/>
                    <a:pt x="179" y="238"/>
                    <a:pt x="185" y="238"/>
                  </a:cubicBezTo>
                  <a:cubicBezTo>
                    <a:pt x="219" y="238"/>
                    <a:pt x="219" y="238"/>
                    <a:pt x="219" y="238"/>
                  </a:cubicBezTo>
                  <a:cubicBezTo>
                    <a:pt x="224" y="238"/>
                    <a:pt x="227" y="240"/>
                    <a:pt x="230" y="242"/>
                  </a:cubicBezTo>
                  <a:cubicBezTo>
                    <a:pt x="235" y="247"/>
                    <a:pt x="235" y="253"/>
                    <a:pt x="235" y="253"/>
                  </a:cubicBezTo>
                  <a:cubicBezTo>
                    <a:pt x="235" y="260"/>
                    <a:pt x="231" y="269"/>
                    <a:pt x="219" y="269"/>
                  </a:cubicBezTo>
                  <a:cubicBezTo>
                    <a:pt x="60" y="269"/>
                    <a:pt x="60" y="269"/>
                    <a:pt x="60" y="269"/>
                  </a:cubicBezTo>
                  <a:cubicBezTo>
                    <a:pt x="56" y="269"/>
                    <a:pt x="52" y="267"/>
                    <a:pt x="50" y="265"/>
                  </a:cubicBezTo>
                  <a:cubicBezTo>
                    <a:pt x="45" y="260"/>
                    <a:pt x="45" y="254"/>
                    <a:pt x="45" y="253"/>
                  </a:cubicBezTo>
                  <a:cubicBezTo>
                    <a:pt x="45" y="253"/>
                    <a:pt x="45" y="247"/>
                    <a:pt x="50" y="242"/>
                  </a:cubicBezTo>
                  <a:cubicBezTo>
                    <a:pt x="52" y="240"/>
                    <a:pt x="56" y="238"/>
                    <a:pt x="60" y="238"/>
                  </a:cubicBezTo>
                  <a:cubicBezTo>
                    <a:pt x="95" y="238"/>
                    <a:pt x="95" y="238"/>
                    <a:pt x="95" y="238"/>
                  </a:cubicBezTo>
                  <a:cubicBezTo>
                    <a:pt x="101" y="238"/>
                    <a:pt x="102" y="233"/>
                    <a:pt x="102" y="231"/>
                  </a:cubicBezTo>
                  <a:cubicBezTo>
                    <a:pt x="102" y="208"/>
                    <a:pt x="102" y="208"/>
                    <a:pt x="102" y="208"/>
                  </a:cubicBezTo>
                  <a:cubicBezTo>
                    <a:pt x="102" y="207"/>
                    <a:pt x="101" y="201"/>
                    <a:pt x="95" y="201"/>
                  </a:cubicBezTo>
                  <a:cubicBezTo>
                    <a:pt x="15" y="201"/>
                    <a:pt x="15" y="201"/>
                    <a:pt x="15" y="201"/>
                  </a:cubicBezTo>
                  <a:cubicBezTo>
                    <a:pt x="4" y="201"/>
                    <a:pt x="0" y="196"/>
                    <a:pt x="0" y="18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3"/>
                    <a:pt x="0" y="0"/>
                    <a:pt x="15" y="0"/>
                  </a:cubicBezTo>
                  <a:cubicBezTo>
                    <a:pt x="219" y="0"/>
                    <a:pt x="219" y="0"/>
                    <a:pt x="219" y="0"/>
                  </a:cubicBezTo>
                  <a:cubicBezTo>
                    <a:pt x="221" y="0"/>
                    <a:pt x="223" y="2"/>
                    <a:pt x="223" y="4"/>
                  </a:cubicBezTo>
                  <a:cubicBezTo>
                    <a:pt x="223" y="6"/>
                    <a:pt x="221" y="8"/>
                    <a:pt x="219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0" y="8"/>
                    <a:pt x="8" y="9"/>
                    <a:pt x="8" y="18"/>
                  </a:cubicBezTo>
                  <a:cubicBezTo>
                    <a:pt x="8" y="185"/>
                    <a:pt x="8" y="185"/>
                    <a:pt x="8" y="185"/>
                  </a:cubicBezTo>
                  <a:cubicBezTo>
                    <a:pt x="8" y="192"/>
                    <a:pt x="8" y="193"/>
                    <a:pt x="15" y="193"/>
                  </a:cubicBezTo>
                  <a:cubicBezTo>
                    <a:pt x="95" y="193"/>
                    <a:pt x="95" y="193"/>
                    <a:pt x="95" y="193"/>
                  </a:cubicBezTo>
                  <a:cubicBezTo>
                    <a:pt x="99" y="193"/>
                    <a:pt x="103" y="194"/>
                    <a:pt x="105" y="197"/>
                  </a:cubicBezTo>
                  <a:cubicBezTo>
                    <a:pt x="110" y="201"/>
                    <a:pt x="110" y="208"/>
                    <a:pt x="110" y="208"/>
                  </a:cubicBezTo>
                  <a:cubicBezTo>
                    <a:pt x="110" y="231"/>
                    <a:pt x="110" y="231"/>
                    <a:pt x="110" y="231"/>
                  </a:cubicBezTo>
                  <a:cubicBezTo>
                    <a:pt x="110" y="237"/>
                    <a:pt x="106" y="246"/>
                    <a:pt x="95" y="246"/>
                  </a:cubicBezTo>
                  <a:cubicBezTo>
                    <a:pt x="60" y="246"/>
                    <a:pt x="60" y="246"/>
                    <a:pt x="60" y="246"/>
                  </a:cubicBezTo>
                  <a:cubicBezTo>
                    <a:pt x="54" y="246"/>
                    <a:pt x="53" y="252"/>
                    <a:pt x="53" y="253"/>
                  </a:cubicBezTo>
                  <a:cubicBezTo>
                    <a:pt x="53" y="255"/>
                    <a:pt x="54" y="261"/>
                    <a:pt x="60" y="261"/>
                  </a:cubicBezTo>
                  <a:cubicBezTo>
                    <a:pt x="219" y="261"/>
                    <a:pt x="219" y="261"/>
                    <a:pt x="219" y="261"/>
                  </a:cubicBezTo>
                  <a:cubicBezTo>
                    <a:pt x="226" y="261"/>
                    <a:pt x="227" y="255"/>
                    <a:pt x="227" y="253"/>
                  </a:cubicBezTo>
                  <a:cubicBezTo>
                    <a:pt x="227" y="252"/>
                    <a:pt x="226" y="246"/>
                    <a:pt x="219" y="246"/>
                  </a:cubicBezTo>
                  <a:cubicBezTo>
                    <a:pt x="185" y="246"/>
                    <a:pt x="185" y="246"/>
                    <a:pt x="185" y="246"/>
                  </a:cubicBezTo>
                  <a:cubicBezTo>
                    <a:pt x="174" y="246"/>
                    <a:pt x="170" y="237"/>
                    <a:pt x="170" y="231"/>
                  </a:cubicBezTo>
                  <a:cubicBezTo>
                    <a:pt x="170" y="208"/>
                    <a:pt x="170" y="208"/>
                    <a:pt x="170" y="208"/>
                  </a:cubicBezTo>
                  <a:cubicBezTo>
                    <a:pt x="170" y="207"/>
                    <a:pt x="170" y="201"/>
                    <a:pt x="174" y="197"/>
                  </a:cubicBezTo>
                  <a:cubicBezTo>
                    <a:pt x="177" y="194"/>
                    <a:pt x="181" y="193"/>
                    <a:pt x="185" y="193"/>
                  </a:cubicBezTo>
                  <a:cubicBezTo>
                    <a:pt x="264" y="193"/>
                    <a:pt x="264" y="193"/>
                    <a:pt x="264" y="193"/>
                  </a:cubicBezTo>
                  <a:cubicBezTo>
                    <a:pt x="271" y="193"/>
                    <a:pt x="272" y="192"/>
                    <a:pt x="272" y="185"/>
                  </a:cubicBezTo>
                  <a:cubicBezTo>
                    <a:pt x="272" y="15"/>
                    <a:pt x="272" y="15"/>
                    <a:pt x="272" y="15"/>
                  </a:cubicBezTo>
                  <a:cubicBezTo>
                    <a:pt x="272" y="9"/>
                    <a:pt x="271" y="8"/>
                    <a:pt x="264" y="8"/>
                  </a:cubicBezTo>
                  <a:cubicBezTo>
                    <a:pt x="242" y="8"/>
                    <a:pt x="242" y="8"/>
                    <a:pt x="242" y="8"/>
                  </a:cubicBezTo>
                  <a:cubicBezTo>
                    <a:pt x="240" y="8"/>
                    <a:pt x="238" y="6"/>
                    <a:pt x="238" y="4"/>
                  </a:cubicBezTo>
                  <a:cubicBezTo>
                    <a:pt x="238" y="2"/>
                    <a:pt x="240" y="0"/>
                    <a:pt x="242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5" y="0"/>
                    <a:pt x="280" y="4"/>
                    <a:pt x="280" y="15"/>
                  </a:cubicBezTo>
                  <a:close/>
                  <a:moveTo>
                    <a:pt x="246" y="34"/>
                  </a:moveTo>
                  <a:cubicBezTo>
                    <a:pt x="34" y="34"/>
                    <a:pt x="34" y="34"/>
                    <a:pt x="34" y="34"/>
                  </a:cubicBezTo>
                  <a:cubicBezTo>
                    <a:pt x="34" y="178"/>
                    <a:pt x="34" y="178"/>
                    <a:pt x="34" y="178"/>
                  </a:cubicBezTo>
                  <a:cubicBezTo>
                    <a:pt x="246" y="178"/>
                    <a:pt x="246" y="178"/>
                    <a:pt x="246" y="178"/>
                  </a:cubicBezTo>
                  <a:lnTo>
                    <a:pt x="246" y="34"/>
                  </a:lnTo>
                  <a:close/>
                  <a:moveTo>
                    <a:pt x="38" y="38"/>
                  </a:moveTo>
                  <a:cubicBezTo>
                    <a:pt x="242" y="38"/>
                    <a:pt x="242" y="38"/>
                    <a:pt x="242" y="38"/>
                  </a:cubicBezTo>
                  <a:cubicBezTo>
                    <a:pt x="242" y="174"/>
                    <a:pt x="242" y="174"/>
                    <a:pt x="242" y="174"/>
                  </a:cubicBezTo>
                  <a:cubicBezTo>
                    <a:pt x="38" y="174"/>
                    <a:pt x="38" y="174"/>
                    <a:pt x="38" y="174"/>
                  </a:cubicBezTo>
                  <a:lnTo>
                    <a:pt x="38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9" name="Freeform 116"/>
            <p:cNvSpPr>
              <a:spLocks noEditPoints="1"/>
            </p:cNvSpPr>
            <p:nvPr/>
          </p:nvSpPr>
          <p:spPr bwMode="auto">
            <a:xfrm>
              <a:off x="6912260" y="3579862"/>
              <a:ext cx="441016" cy="271503"/>
            </a:xfrm>
            <a:custGeom>
              <a:avLst/>
              <a:gdLst>
                <a:gd name="T0" fmla="*/ 188 w 302"/>
                <a:gd name="T1" fmla="*/ 92 h 186"/>
                <a:gd name="T2" fmla="*/ 216 w 302"/>
                <a:gd name="T3" fmla="*/ 92 h 186"/>
                <a:gd name="T4" fmla="*/ 202 w 302"/>
                <a:gd name="T5" fmla="*/ 82 h 186"/>
                <a:gd name="T6" fmla="*/ 202 w 302"/>
                <a:gd name="T7" fmla="*/ 102 h 186"/>
                <a:gd name="T8" fmla="*/ 202 w 302"/>
                <a:gd name="T9" fmla="*/ 82 h 186"/>
                <a:gd name="T10" fmla="*/ 78 w 302"/>
                <a:gd name="T11" fmla="*/ 92 h 186"/>
                <a:gd name="T12" fmla="*/ 72 w 302"/>
                <a:gd name="T13" fmla="*/ 86 h 186"/>
                <a:gd name="T14" fmla="*/ 72 w 302"/>
                <a:gd name="T15" fmla="*/ 57 h 186"/>
                <a:gd name="T16" fmla="*/ 78 w 302"/>
                <a:gd name="T17" fmla="*/ 51 h 186"/>
                <a:gd name="T18" fmla="*/ 106 w 302"/>
                <a:gd name="T19" fmla="*/ 51 h 186"/>
                <a:gd name="T20" fmla="*/ 112 w 302"/>
                <a:gd name="T21" fmla="*/ 57 h 186"/>
                <a:gd name="T22" fmla="*/ 112 w 302"/>
                <a:gd name="T23" fmla="*/ 86 h 186"/>
                <a:gd name="T24" fmla="*/ 106 w 302"/>
                <a:gd name="T25" fmla="*/ 92 h 186"/>
                <a:gd name="T26" fmla="*/ 72 w 302"/>
                <a:gd name="T27" fmla="*/ 61 h 186"/>
                <a:gd name="T28" fmla="*/ 72 w 302"/>
                <a:gd name="T29" fmla="*/ 82 h 186"/>
                <a:gd name="T30" fmla="*/ 82 w 302"/>
                <a:gd name="T31" fmla="*/ 92 h 186"/>
                <a:gd name="T32" fmla="*/ 102 w 302"/>
                <a:gd name="T33" fmla="*/ 92 h 186"/>
                <a:gd name="T34" fmla="*/ 112 w 302"/>
                <a:gd name="T35" fmla="*/ 82 h 186"/>
                <a:gd name="T36" fmla="*/ 112 w 302"/>
                <a:gd name="T37" fmla="*/ 61 h 186"/>
                <a:gd name="T38" fmla="*/ 102 w 302"/>
                <a:gd name="T39" fmla="*/ 51 h 186"/>
                <a:gd name="T40" fmla="*/ 82 w 302"/>
                <a:gd name="T41" fmla="*/ 51 h 186"/>
                <a:gd name="T42" fmla="*/ 72 w 302"/>
                <a:gd name="T43" fmla="*/ 61 h 186"/>
                <a:gd name="T44" fmla="*/ 217 w 302"/>
                <a:gd name="T45" fmla="*/ 72 h 186"/>
                <a:gd name="T46" fmla="*/ 244 w 302"/>
                <a:gd name="T47" fmla="*/ 72 h 186"/>
                <a:gd name="T48" fmla="*/ 231 w 302"/>
                <a:gd name="T49" fmla="*/ 62 h 186"/>
                <a:gd name="T50" fmla="*/ 231 w 302"/>
                <a:gd name="T51" fmla="*/ 81 h 186"/>
                <a:gd name="T52" fmla="*/ 231 w 302"/>
                <a:gd name="T53" fmla="*/ 62 h 186"/>
                <a:gd name="T54" fmla="*/ 188 w 302"/>
                <a:gd name="T55" fmla="*/ 50 h 186"/>
                <a:gd name="T56" fmla="*/ 216 w 302"/>
                <a:gd name="T57" fmla="*/ 50 h 186"/>
                <a:gd name="T58" fmla="*/ 202 w 302"/>
                <a:gd name="T59" fmla="*/ 41 h 186"/>
                <a:gd name="T60" fmla="*/ 202 w 302"/>
                <a:gd name="T61" fmla="*/ 60 h 186"/>
                <a:gd name="T62" fmla="*/ 202 w 302"/>
                <a:gd name="T63" fmla="*/ 41 h 186"/>
                <a:gd name="T64" fmla="*/ 278 w 302"/>
                <a:gd name="T65" fmla="*/ 58 h 186"/>
                <a:gd name="T66" fmla="*/ 171 w 302"/>
                <a:gd name="T67" fmla="*/ 19 h 186"/>
                <a:gd name="T68" fmla="*/ 88 w 302"/>
                <a:gd name="T69" fmla="*/ 0 h 186"/>
                <a:gd name="T70" fmla="*/ 36 w 302"/>
                <a:gd name="T71" fmla="*/ 180 h 186"/>
                <a:gd name="T72" fmla="*/ 139 w 302"/>
                <a:gd name="T73" fmla="*/ 143 h 186"/>
                <a:gd name="T74" fmla="*/ 139 w 302"/>
                <a:gd name="T75" fmla="*/ 135 h 186"/>
                <a:gd name="T76" fmla="*/ 90 w 302"/>
                <a:gd name="T77" fmla="*/ 137 h 186"/>
                <a:gd name="T78" fmla="*/ 32 w 302"/>
                <a:gd name="T79" fmla="*/ 60 h 186"/>
                <a:gd name="T80" fmla="*/ 88 w 302"/>
                <a:gd name="T81" fmla="*/ 8 h 186"/>
                <a:gd name="T82" fmla="*/ 129 w 302"/>
                <a:gd name="T83" fmla="*/ 27 h 186"/>
                <a:gd name="T84" fmla="*/ 176 w 302"/>
                <a:gd name="T85" fmla="*/ 25 h 186"/>
                <a:gd name="T86" fmla="*/ 270 w 302"/>
                <a:gd name="T87" fmla="*/ 59 h 186"/>
                <a:gd name="T88" fmla="*/ 262 w 302"/>
                <a:gd name="T89" fmla="*/ 172 h 186"/>
                <a:gd name="T90" fmla="*/ 209 w 302"/>
                <a:gd name="T91" fmla="*/ 136 h 186"/>
                <a:gd name="T92" fmla="*/ 161 w 302"/>
                <a:gd name="T93" fmla="*/ 135 h 186"/>
                <a:gd name="T94" fmla="*/ 161 w 302"/>
                <a:gd name="T95" fmla="*/ 143 h 186"/>
                <a:gd name="T96" fmla="*/ 215 w 302"/>
                <a:gd name="T97" fmla="*/ 153 h 186"/>
                <a:gd name="T98" fmla="*/ 265 w 302"/>
                <a:gd name="T99" fmla="*/ 18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2" h="186">
                  <a:moveTo>
                    <a:pt x="202" y="106"/>
                  </a:moveTo>
                  <a:cubicBezTo>
                    <a:pt x="194" y="106"/>
                    <a:pt x="188" y="100"/>
                    <a:pt x="188" y="92"/>
                  </a:cubicBezTo>
                  <a:cubicBezTo>
                    <a:pt x="188" y="85"/>
                    <a:pt x="194" y="78"/>
                    <a:pt x="202" y="78"/>
                  </a:cubicBezTo>
                  <a:cubicBezTo>
                    <a:pt x="210" y="78"/>
                    <a:pt x="216" y="85"/>
                    <a:pt x="216" y="92"/>
                  </a:cubicBezTo>
                  <a:cubicBezTo>
                    <a:pt x="216" y="100"/>
                    <a:pt x="210" y="106"/>
                    <a:pt x="202" y="106"/>
                  </a:cubicBezTo>
                  <a:close/>
                  <a:moveTo>
                    <a:pt x="202" y="82"/>
                  </a:moveTo>
                  <a:cubicBezTo>
                    <a:pt x="196" y="82"/>
                    <a:pt x="192" y="87"/>
                    <a:pt x="192" y="92"/>
                  </a:cubicBezTo>
                  <a:cubicBezTo>
                    <a:pt x="192" y="98"/>
                    <a:pt x="196" y="102"/>
                    <a:pt x="202" y="102"/>
                  </a:cubicBezTo>
                  <a:cubicBezTo>
                    <a:pt x="208" y="102"/>
                    <a:pt x="212" y="98"/>
                    <a:pt x="212" y="92"/>
                  </a:cubicBezTo>
                  <a:cubicBezTo>
                    <a:pt x="212" y="87"/>
                    <a:pt x="208" y="82"/>
                    <a:pt x="202" y="82"/>
                  </a:cubicBezTo>
                  <a:close/>
                  <a:moveTo>
                    <a:pt x="92" y="106"/>
                  </a:moveTo>
                  <a:cubicBezTo>
                    <a:pt x="84" y="106"/>
                    <a:pt x="78" y="99"/>
                    <a:pt x="78" y="92"/>
                  </a:cubicBezTo>
                  <a:cubicBezTo>
                    <a:pt x="78" y="86"/>
                    <a:pt x="78" y="86"/>
                    <a:pt x="78" y="86"/>
                  </a:cubicBezTo>
                  <a:cubicBezTo>
                    <a:pt x="72" y="86"/>
                    <a:pt x="72" y="86"/>
                    <a:pt x="72" y="86"/>
                  </a:cubicBezTo>
                  <a:cubicBezTo>
                    <a:pt x="64" y="86"/>
                    <a:pt x="58" y="79"/>
                    <a:pt x="58" y="72"/>
                  </a:cubicBezTo>
                  <a:cubicBezTo>
                    <a:pt x="58" y="63"/>
                    <a:pt x="64" y="57"/>
                    <a:pt x="72" y="57"/>
                  </a:cubicBezTo>
                  <a:cubicBezTo>
                    <a:pt x="78" y="57"/>
                    <a:pt x="78" y="57"/>
                    <a:pt x="78" y="57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43"/>
                    <a:pt x="84" y="37"/>
                    <a:pt x="92" y="37"/>
                  </a:cubicBezTo>
                  <a:cubicBezTo>
                    <a:pt x="100" y="37"/>
                    <a:pt x="106" y="43"/>
                    <a:pt x="106" y="51"/>
                  </a:cubicBezTo>
                  <a:cubicBezTo>
                    <a:pt x="106" y="57"/>
                    <a:pt x="106" y="57"/>
                    <a:pt x="106" y="57"/>
                  </a:cubicBezTo>
                  <a:cubicBezTo>
                    <a:pt x="112" y="57"/>
                    <a:pt x="112" y="57"/>
                    <a:pt x="112" y="57"/>
                  </a:cubicBezTo>
                  <a:cubicBezTo>
                    <a:pt x="120" y="57"/>
                    <a:pt x="126" y="63"/>
                    <a:pt x="126" y="72"/>
                  </a:cubicBezTo>
                  <a:cubicBezTo>
                    <a:pt x="126" y="79"/>
                    <a:pt x="120" y="86"/>
                    <a:pt x="112" y="86"/>
                  </a:cubicBezTo>
                  <a:cubicBezTo>
                    <a:pt x="106" y="86"/>
                    <a:pt x="106" y="86"/>
                    <a:pt x="106" y="86"/>
                  </a:cubicBezTo>
                  <a:cubicBezTo>
                    <a:pt x="106" y="92"/>
                    <a:pt x="106" y="92"/>
                    <a:pt x="106" y="92"/>
                  </a:cubicBezTo>
                  <a:cubicBezTo>
                    <a:pt x="106" y="100"/>
                    <a:pt x="100" y="106"/>
                    <a:pt x="92" y="106"/>
                  </a:cubicBezTo>
                  <a:close/>
                  <a:moveTo>
                    <a:pt x="72" y="61"/>
                  </a:moveTo>
                  <a:cubicBezTo>
                    <a:pt x="66" y="61"/>
                    <a:pt x="62" y="66"/>
                    <a:pt x="62" y="72"/>
                  </a:cubicBezTo>
                  <a:cubicBezTo>
                    <a:pt x="62" y="77"/>
                    <a:pt x="66" y="82"/>
                    <a:pt x="72" y="82"/>
                  </a:cubicBezTo>
                  <a:cubicBezTo>
                    <a:pt x="82" y="82"/>
                    <a:pt x="82" y="82"/>
                    <a:pt x="82" y="82"/>
                  </a:cubicBezTo>
                  <a:cubicBezTo>
                    <a:pt x="82" y="92"/>
                    <a:pt x="82" y="92"/>
                    <a:pt x="82" y="92"/>
                  </a:cubicBezTo>
                  <a:cubicBezTo>
                    <a:pt x="82" y="97"/>
                    <a:pt x="86" y="102"/>
                    <a:pt x="92" y="102"/>
                  </a:cubicBezTo>
                  <a:cubicBezTo>
                    <a:pt x="98" y="102"/>
                    <a:pt x="102" y="97"/>
                    <a:pt x="102" y="92"/>
                  </a:cubicBezTo>
                  <a:cubicBezTo>
                    <a:pt x="102" y="82"/>
                    <a:pt x="102" y="82"/>
                    <a:pt x="102" y="82"/>
                  </a:cubicBezTo>
                  <a:cubicBezTo>
                    <a:pt x="112" y="82"/>
                    <a:pt x="112" y="82"/>
                    <a:pt x="112" y="82"/>
                  </a:cubicBezTo>
                  <a:cubicBezTo>
                    <a:pt x="118" y="82"/>
                    <a:pt x="122" y="77"/>
                    <a:pt x="122" y="72"/>
                  </a:cubicBezTo>
                  <a:cubicBezTo>
                    <a:pt x="122" y="66"/>
                    <a:pt x="118" y="61"/>
                    <a:pt x="112" y="61"/>
                  </a:cubicBezTo>
                  <a:cubicBezTo>
                    <a:pt x="102" y="61"/>
                    <a:pt x="102" y="61"/>
                    <a:pt x="102" y="61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45"/>
                    <a:pt x="98" y="41"/>
                    <a:pt x="92" y="41"/>
                  </a:cubicBezTo>
                  <a:cubicBezTo>
                    <a:pt x="86" y="41"/>
                    <a:pt x="82" y="46"/>
                    <a:pt x="82" y="51"/>
                  </a:cubicBezTo>
                  <a:cubicBezTo>
                    <a:pt x="82" y="61"/>
                    <a:pt x="82" y="61"/>
                    <a:pt x="82" y="61"/>
                  </a:cubicBezTo>
                  <a:lnTo>
                    <a:pt x="72" y="61"/>
                  </a:lnTo>
                  <a:close/>
                  <a:moveTo>
                    <a:pt x="231" y="85"/>
                  </a:moveTo>
                  <a:cubicBezTo>
                    <a:pt x="223" y="85"/>
                    <a:pt x="217" y="79"/>
                    <a:pt x="217" y="72"/>
                  </a:cubicBezTo>
                  <a:cubicBezTo>
                    <a:pt x="217" y="64"/>
                    <a:pt x="223" y="58"/>
                    <a:pt x="231" y="58"/>
                  </a:cubicBezTo>
                  <a:cubicBezTo>
                    <a:pt x="238" y="58"/>
                    <a:pt x="244" y="64"/>
                    <a:pt x="244" y="72"/>
                  </a:cubicBezTo>
                  <a:cubicBezTo>
                    <a:pt x="244" y="79"/>
                    <a:pt x="238" y="85"/>
                    <a:pt x="231" y="85"/>
                  </a:cubicBezTo>
                  <a:close/>
                  <a:moveTo>
                    <a:pt x="231" y="62"/>
                  </a:moveTo>
                  <a:cubicBezTo>
                    <a:pt x="225" y="62"/>
                    <a:pt x="221" y="66"/>
                    <a:pt x="221" y="72"/>
                  </a:cubicBezTo>
                  <a:cubicBezTo>
                    <a:pt x="221" y="77"/>
                    <a:pt x="225" y="81"/>
                    <a:pt x="231" y="81"/>
                  </a:cubicBezTo>
                  <a:cubicBezTo>
                    <a:pt x="236" y="81"/>
                    <a:pt x="240" y="77"/>
                    <a:pt x="240" y="72"/>
                  </a:cubicBezTo>
                  <a:cubicBezTo>
                    <a:pt x="240" y="66"/>
                    <a:pt x="236" y="62"/>
                    <a:pt x="231" y="62"/>
                  </a:cubicBezTo>
                  <a:close/>
                  <a:moveTo>
                    <a:pt x="202" y="64"/>
                  </a:moveTo>
                  <a:cubicBezTo>
                    <a:pt x="194" y="64"/>
                    <a:pt x="188" y="58"/>
                    <a:pt x="188" y="50"/>
                  </a:cubicBezTo>
                  <a:cubicBezTo>
                    <a:pt x="188" y="43"/>
                    <a:pt x="194" y="37"/>
                    <a:pt x="202" y="37"/>
                  </a:cubicBezTo>
                  <a:cubicBezTo>
                    <a:pt x="210" y="37"/>
                    <a:pt x="216" y="43"/>
                    <a:pt x="216" y="50"/>
                  </a:cubicBezTo>
                  <a:cubicBezTo>
                    <a:pt x="216" y="58"/>
                    <a:pt x="210" y="64"/>
                    <a:pt x="202" y="64"/>
                  </a:cubicBezTo>
                  <a:close/>
                  <a:moveTo>
                    <a:pt x="202" y="41"/>
                  </a:moveTo>
                  <a:cubicBezTo>
                    <a:pt x="197" y="41"/>
                    <a:pt x="192" y="45"/>
                    <a:pt x="192" y="50"/>
                  </a:cubicBezTo>
                  <a:cubicBezTo>
                    <a:pt x="192" y="56"/>
                    <a:pt x="196" y="60"/>
                    <a:pt x="202" y="60"/>
                  </a:cubicBezTo>
                  <a:cubicBezTo>
                    <a:pt x="208" y="60"/>
                    <a:pt x="212" y="56"/>
                    <a:pt x="212" y="50"/>
                  </a:cubicBezTo>
                  <a:cubicBezTo>
                    <a:pt x="212" y="45"/>
                    <a:pt x="207" y="41"/>
                    <a:pt x="202" y="41"/>
                  </a:cubicBezTo>
                  <a:close/>
                  <a:moveTo>
                    <a:pt x="265" y="180"/>
                  </a:moveTo>
                  <a:cubicBezTo>
                    <a:pt x="302" y="167"/>
                    <a:pt x="285" y="91"/>
                    <a:pt x="278" y="58"/>
                  </a:cubicBezTo>
                  <a:cubicBezTo>
                    <a:pt x="271" y="25"/>
                    <a:pt x="243" y="0"/>
                    <a:pt x="213" y="0"/>
                  </a:cubicBezTo>
                  <a:cubicBezTo>
                    <a:pt x="197" y="0"/>
                    <a:pt x="182" y="7"/>
                    <a:pt x="171" y="19"/>
                  </a:cubicBezTo>
                  <a:cubicBezTo>
                    <a:pt x="131" y="19"/>
                    <a:pt x="131" y="19"/>
                    <a:pt x="131" y="19"/>
                  </a:cubicBezTo>
                  <a:cubicBezTo>
                    <a:pt x="119" y="7"/>
                    <a:pt x="105" y="0"/>
                    <a:pt x="88" y="0"/>
                  </a:cubicBezTo>
                  <a:cubicBezTo>
                    <a:pt x="58" y="0"/>
                    <a:pt x="31" y="25"/>
                    <a:pt x="24" y="58"/>
                  </a:cubicBezTo>
                  <a:cubicBezTo>
                    <a:pt x="17" y="91"/>
                    <a:pt x="0" y="167"/>
                    <a:pt x="36" y="180"/>
                  </a:cubicBezTo>
                  <a:cubicBezTo>
                    <a:pt x="54" y="186"/>
                    <a:pt x="82" y="157"/>
                    <a:pt x="95" y="143"/>
                  </a:cubicBezTo>
                  <a:cubicBezTo>
                    <a:pt x="139" y="143"/>
                    <a:pt x="139" y="143"/>
                    <a:pt x="139" y="143"/>
                  </a:cubicBezTo>
                  <a:cubicBezTo>
                    <a:pt x="141" y="143"/>
                    <a:pt x="143" y="141"/>
                    <a:pt x="143" y="139"/>
                  </a:cubicBezTo>
                  <a:cubicBezTo>
                    <a:pt x="143" y="137"/>
                    <a:pt x="141" y="135"/>
                    <a:pt x="139" y="135"/>
                  </a:cubicBezTo>
                  <a:cubicBezTo>
                    <a:pt x="93" y="135"/>
                    <a:pt x="93" y="135"/>
                    <a:pt x="93" y="135"/>
                  </a:cubicBezTo>
                  <a:cubicBezTo>
                    <a:pt x="92" y="135"/>
                    <a:pt x="91" y="136"/>
                    <a:pt x="90" y="137"/>
                  </a:cubicBezTo>
                  <a:cubicBezTo>
                    <a:pt x="68" y="161"/>
                    <a:pt x="48" y="175"/>
                    <a:pt x="39" y="172"/>
                  </a:cubicBezTo>
                  <a:cubicBezTo>
                    <a:pt x="9" y="162"/>
                    <a:pt x="26" y="88"/>
                    <a:pt x="32" y="60"/>
                  </a:cubicBezTo>
                  <a:cubicBezTo>
                    <a:pt x="32" y="60"/>
                    <a:pt x="32" y="59"/>
                    <a:pt x="32" y="59"/>
                  </a:cubicBezTo>
                  <a:cubicBezTo>
                    <a:pt x="38" y="30"/>
                    <a:pt x="63" y="8"/>
                    <a:pt x="88" y="8"/>
                  </a:cubicBezTo>
                  <a:cubicBezTo>
                    <a:pt x="107" y="8"/>
                    <a:pt x="119" y="17"/>
                    <a:pt x="126" y="25"/>
                  </a:cubicBezTo>
                  <a:cubicBezTo>
                    <a:pt x="127" y="26"/>
                    <a:pt x="128" y="27"/>
                    <a:pt x="129" y="27"/>
                  </a:cubicBezTo>
                  <a:cubicBezTo>
                    <a:pt x="173" y="27"/>
                    <a:pt x="173" y="27"/>
                    <a:pt x="173" y="27"/>
                  </a:cubicBezTo>
                  <a:cubicBezTo>
                    <a:pt x="174" y="27"/>
                    <a:pt x="175" y="26"/>
                    <a:pt x="176" y="25"/>
                  </a:cubicBezTo>
                  <a:cubicBezTo>
                    <a:pt x="183" y="17"/>
                    <a:pt x="195" y="8"/>
                    <a:pt x="213" y="8"/>
                  </a:cubicBezTo>
                  <a:cubicBezTo>
                    <a:pt x="239" y="8"/>
                    <a:pt x="264" y="30"/>
                    <a:pt x="270" y="59"/>
                  </a:cubicBezTo>
                  <a:cubicBezTo>
                    <a:pt x="270" y="59"/>
                    <a:pt x="270" y="60"/>
                    <a:pt x="270" y="60"/>
                  </a:cubicBezTo>
                  <a:cubicBezTo>
                    <a:pt x="276" y="88"/>
                    <a:pt x="292" y="162"/>
                    <a:pt x="262" y="172"/>
                  </a:cubicBezTo>
                  <a:cubicBezTo>
                    <a:pt x="257" y="174"/>
                    <a:pt x="243" y="169"/>
                    <a:pt x="221" y="147"/>
                  </a:cubicBezTo>
                  <a:cubicBezTo>
                    <a:pt x="218" y="144"/>
                    <a:pt x="210" y="137"/>
                    <a:pt x="209" y="136"/>
                  </a:cubicBezTo>
                  <a:cubicBezTo>
                    <a:pt x="209" y="136"/>
                    <a:pt x="208" y="135"/>
                    <a:pt x="207" y="135"/>
                  </a:cubicBezTo>
                  <a:cubicBezTo>
                    <a:pt x="161" y="135"/>
                    <a:pt x="161" y="135"/>
                    <a:pt x="161" y="135"/>
                  </a:cubicBezTo>
                  <a:cubicBezTo>
                    <a:pt x="159" y="135"/>
                    <a:pt x="157" y="137"/>
                    <a:pt x="157" y="139"/>
                  </a:cubicBezTo>
                  <a:cubicBezTo>
                    <a:pt x="157" y="141"/>
                    <a:pt x="159" y="143"/>
                    <a:pt x="161" y="143"/>
                  </a:cubicBezTo>
                  <a:cubicBezTo>
                    <a:pt x="205" y="143"/>
                    <a:pt x="205" y="143"/>
                    <a:pt x="205" y="143"/>
                  </a:cubicBezTo>
                  <a:cubicBezTo>
                    <a:pt x="207" y="145"/>
                    <a:pt x="213" y="150"/>
                    <a:pt x="215" y="153"/>
                  </a:cubicBezTo>
                  <a:cubicBezTo>
                    <a:pt x="226" y="164"/>
                    <a:pt x="245" y="181"/>
                    <a:pt x="260" y="181"/>
                  </a:cubicBezTo>
                  <a:cubicBezTo>
                    <a:pt x="262" y="181"/>
                    <a:pt x="263" y="180"/>
                    <a:pt x="265" y="1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0" name="Freeform 120"/>
            <p:cNvSpPr>
              <a:spLocks noEditPoints="1"/>
            </p:cNvSpPr>
            <p:nvPr/>
          </p:nvSpPr>
          <p:spPr bwMode="auto">
            <a:xfrm>
              <a:off x="7452320" y="2895786"/>
              <a:ext cx="274316" cy="398813"/>
            </a:xfrm>
            <a:custGeom>
              <a:avLst/>
              <a:gdLst>
                <a:gd name="T0" fmla="*/ 48 w 153"/>
                <a:gd name="T1" fmla="*/ 35 h 222"/>
                <a:gd name="T2" fmla="*/ 58 w 153"/>
                <a:gd name="T3" fmla="*/ 117 h 222"/>
                <a:gd name="T4" fmla="*/ 76 w 153"/>
                <a:gd name="T5" fmla="*/ 117 h 222"/>
                <a:gd name="T6" fmla="*/ 72 w 153"/>
                <a:gd name="T7" fmla="*/ 35 h 222"/>
                <a:gd name="T8" fmla="*/ 76 w 153"/>
                <a:gd name="T9" fmla="*/ 117 h 222"/>
                <a:gd name="T10" fmla="*/ 100 w 153"/>
                <a:gd name="T11" fmla="*/ 35 h 222"/>
                <a:gd name="T12" fmla="*/ 90 w 153"/>
                <a:gd name="T13" fmla="*/ 117 h 222"/>
                <a:gd name="T14" fmla="*/ 122 w 153"/>
                <a:gd name="T15" fmla="*/ 128 h 222"/>
                <a:gd name="T16" fmla="*/ 125 w 153"/>
                <a:gd name="T17" fmla="*/ 140 h 222"/>
                <a:gd name="T18" fmla="*/ 136 w 153"/>
                <a:gd name="T19" fmla="*/ 204 h 222"/>
                <a:gd name="T20" fmla="*/ 118 w 153"/>
                <a:gd name="T21" fmla="*/ 222 h 222"/>
                <a:gd name="T22" fmla="*/ 107 w 153"/>
                <a:gd name="T23" fmla="*/ 222 h 222"/>
                <a:gd name="T24" fmla="*/ 107 w 153"/>
                <a:gd name="T25" fmla="*/ 214 h 222"/>
                <a:gd name="T26" fmla="*/ 128 w 153"/>
                <a:gd name="T27" fmla="*/ 204 h 222"/>
                <a:gd name="T28" fmla="*/ 117 w 153"/>
                <a:gd name="T29" fmla="*/ 141 h 222"/>
                <a:gd name="T30" fmla="*/ 116 w 153"/>
                <a:gd name="T31" fmla="*/ 137 h 222"/>
                <a:gd name="T32" fmla="*/ 31 w 153"/>
                <a:gd name="T33" fmla="*/ 141 h 222"/>
                <a:gd name="T34" fmla="*/ 20 w 153"/>
                <a:gd name="T35" fmla="*/ 204 h 222"/>
                <a:gd name="T36" fmla="*/ 38 w 153"/>
                <a:gd name="T37" fmla="*/ 214 h 222"/>
                <a:gd name="T38" fmla="*/ 92 w 153"/>
                <a:gd name="T39" fmla="*/ 218 h 222"/>
                <a:gd name="T40" fmla="*/ 40 w 153"/>
                <a:gd name="T41" fmla="*/ 222 h 222"/>
                <a:gd name="T42" fmla="*/ 12 w 153"/>
                <a:gd name="T43" fmla="*/ 204 h 222"/>
                <a:gd name="T44" fmla="*/ 12 w 153"/>
                <a:gd name="T45" fmla="*/ 202 h 222"/>
                <a:gd name="T46" fmla="*/ 26 w 153"/>
                <a:gd name="T47" fmla="*/ 131 h 222"/>
                <a:gd name="T48" fmla="*/ 17 w 153"/>
                <a:gd name="T49" fmla="*/ 47 h 222"/>
                <a:gd name="T50" fmla="*/ 2 w 153"/>
                <a:gd name="T51" fmla="*/ 15 h 222"/>
                <a:gd name="T52" fmla="*/ 14 w 153"/>
                <a:gd name="T53" fmla="*/ 7 h 222"/>
                <a:gd name="T54" fmla="*/ 28 w 153"/>
                <a:gd name="T55" fmla="*/ 3 h 222"/>
                <a:gd name="T56" fmla="*/ 40 w 153"/>
                <a:gd name="T57" fmla="*/ 1 h 222"/>
                <a:gd name="T58" fmla="*/ 108 w 153"/>
                <a:gd name="T59" fmla="*/ 1 h 222"/>
                <a:gd name="T60" fmla="*/ 133 w 153"/>
                <a:gd name="T61" fmla="*/ 15 h 222"/>
                <a:gd name="T62" fmla="*/ 150 w 153"/>
                <a:gd name="T63" fmla="*/ 54 h 222"/>
                <a:gd name="T64" fmla="*/ 127 w 153"/>
                <a:gd name="T65" fmla="*/ 94 h 222"/>
                <a:gd name="T66" fmla="*/ 122 w 153"/>
                <a:gd name="T67" fmla="*/ 128 h 222"/>
                <a:gd name="T68" fmla="*/ 132 w 153"/>
                <a:gd name="T69" fmla="*/ 38 h 222"/>
                <a:gd name="T70" fmla="*/ 132 w 153"/>
                <a:gd name="T71" fmla="*/ 38 h 222"/>
                <a:gd name="T72" fmla="*/ 129 w 153"/>
                <a:gd name="T73" fmla="*/ 86 h 222"/>
                <a:gd name="T74" fmla="*/ 142 w 153"/>
                <a:gd name="T75" fmla="*/ 53 h 222"/>
                <a:gd name="T76" fmla="*/ 141 w 153"/>
                <a:gd name="T77" fmla="*/ 30 h 222"/>
                <a:gd name="T78" fmla="*/ 125 w 153"/>
                <a:gd name="T79" fmla="*/ 17 h 222"/>
                <a:gd name="T80" fmla="*/ 107 w 153"/>
                <a:gd name="T81" fmla="*/ 9 h 222"/>
                <a:gd name="T82" fmla="*/ 40 w 153"/>
                <a:gd name="T83" fmla="*/ 9 h 222"/>
                <a:gd name="T84" fmla="*/ 23 w 153"/>
                <a:gd name="T85" fmla="*/ 14 h 222"/>
                <a:gd name="T86" fmla="*/ 14 w 153"/>
                <a:gd name="T87" fmla="*/ 15 h 222"/>
                <a:gd name="T88" fmla="*/ 10 w 153"/>
                <a:gd name="T89" fmla="*/ 23 h 222"/>
                <a:gd name="T90" fmla="*/ 24 w 153"/>
                <a:gd name="T91" fmla="*/ 45 h 222"/>
                <a:gd name="T92" fmla="*/ 33 w 153"/>
                <a:gd name="T93" fmla="*/ 127 h 222"/>
                <a:gd name="T94" fmla="*/ 113 w 153"/>
                <a:gd name="T95" fmla="*/ 129 h 222"/>
                <a:gd name="T96" fmla="*/ 127 w 153"/>
                <a:gd name="T97" fmla="*/ 41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3" h="222">
                  <a:moveTo>
                    <a:pt x="54" y="117"/>
                  </a:moveTo>
                  <a:cubicBezTo>
                    <a:pt x="48" y="35"/>
                    <a:pt x="48" y="35"/>
                    <a:pt x="48" y="35"/>
                  </a:cubicBezTo>
                  <a:cubicBezTo>
                    <a:pt x="52" y="35"/>
                    <a:pt x="52" y="35"/>
                    <a:pt x="52" y="35"/>
                  </a:cubicBezTo>
                  <a:cubicBezTo>
                    <a:pt x="58" y="117"/>
                    <a:pt x="58" y="117"/>
                    <a:pt x="58" y="117"/>
                  </a:cubicBezTo>
                  <a:lnTo>
                    <a:pt x="54" y="117"/>
                  </a:lnTo>
                  <a:close/>
                  <a:moveTo>
                    <a:pt x="76" y="117"/>
                  </a:moveTo>
                  <a:cubicBezTo>
                    <a:pt x="76" y="35"/>
                    <a:pt x="76" y="35"/>
                    <a:pt x="76" y="35"/>
                  </a:cubicBezTo>
                  <a:cubicBezTo>
                    <a:pt x="72" y="35"/>
                    <a:pt x="72" y="35"/>
                    <a:pt x="72" y="35"/>
                  </a:cubicBezTo>
                  <a:cubicBezTo>
                    <a:pt x="72" y="117"/>
                    <a:pt x="72" y="117"/>
                    <a:pt x="72" y="117"/>
                  </a:cubicBezTo>
                  <a:lnTo>
                    <a:pt x="76" y="117"/>
                  </a:lnTo>
                  <a:close/>
                  <a:moveTo>
                    <a:pt x="94" y="117"/>
                  </a:moveTo>
                  <a:cubicBezTo>
                    <a:pt x="100" y="35"/>
                    <a:pt x="100" y="35"/>
                    <a:pt x="100" y="35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0" y="117"/>
                    <a:pt x="90" y="117"/>
                    <a:pt x="90" y="117"/>
                  </a:cubicBezTo>
                  <a:lnTo>
                    <a:pt x="94" y="117"/>
                  </a:lnTo>
                  <a:close/>
                  <a:moveTo>
                    <a:pt x="122" y="128"/>
                  </a:moveTo>
                  <a:cubicBezTo>
                    <a:pt x="122" y="129"/>
                    <a:pt x="122" y="130"/>
                    <a:pt x="121" y="130"/>
                  </a:cubicBezTo>
                  <a:cubicBezTo>
                    <a:pt x="123" y="133"/>
                    <a:pt x="125" y="136"/>
                    <a:pt x="125" y="140"/>
                  </a:cubicBezTo>
                  <a:cubicBezTo>
                    <a:pt x="136" y="202"/>
                    <a:pt x="136" y="202"/>
                    <a:pt x="136" y="202"/>
                  </a:cubicBezTo>
                  <a:cubicBezTo>
                    <a:pt x="136" y="202"/>
                    <a:pt x="136" y="203"/>
                    <a:pt x="136" y="204"/>
                  </a:cubicBezTo>
                  <a:cubicBezTo>
                    <a:pt x="136" y="214"/>
                    <a:pt x="128" y="222"/>
                    <a:pt x="118" y="222"/>
                  </a:cubicBezTo>
                  <a:cubicBezTo>
                    <a:pt x="118" y="222"/>
                    <a:pt x="118" y="222"/>
                    <a:pt x="118" y="222"/>
                  </a:cubicBezTo>
                  <a:cubicBezTo>
                    <a:pt x="117" y="222"/>
                    <a:pt x="117" y="222"/>
                    <a:pt x="117" y="222"/>
                  </a:cubicBezTo>
                  <a:cubicBezTo>
                    <a:pt x="107" y="222"/>
                    <a:pt x="107" y="222"/>
                    <a:pt x="107" y="222"/>
                  </a:cubicBezTo>
                  <a:cubicBezTo>
                    <a:pt x="105" y="222"/>
                    <a:pt x="103" y="221"/>
                    <a:pt x="103" y="218"/>
                  </a:cubicBezTo>
                  <a:cubicBezTo>
                    <a:pt x="103" y="216"/>
                    <a:pt x="105" y="214"/>
                    <a:pt x="107" y="214"/>
                  </a:cubicBezTo>
                  <a:cubicBezTo>
                    <a:pt x="117" y="214"/>
                    <a:pt x="117" y="214"/>
                    <a:pt x="117" y="214"/>
                  </a:cubicBezTo>
                  <a:cubicBezTo>
                    <a:pt x="123" y="214"/>
                    <a:pt x="128" y="210"/>
                    <a:pt x="128" y="204"/>
                  </a:cubicBezTo>
                  <a:cubicBezTo>
                    <a:pt x="128" y="204"/>
                    <a:pt x="128" y="203"/>
                    <a:pt x="128" y="203"/>
                  </a:cubicBezTo>
                  <a:cubicBezTo>
                    <a:pt x="117" y="141"/>
                    <a:pt x="117" y="141"/>
                    <a:pt x="117" y="141"/>
                  </a:cubicBezTo>
                  <a:cubicBezTo>
                    <a:pt x="117" y="141"/>
                    <a:pt x="117" y="141"/>
                    <a:pt x="117" y="141"/>
                  </a:cubicBezTo>
                  <a:cubicBezTo>
                    <a:pt x="117" y="139"/>
                    <a:pt x="117" y="138"/>
                    <a:pt x="116" y="137"/>
                  </a:cubicBezTo>
                  <a:cubicBezTo>
                    <a:pt x="32" y="137"/>
                    <a:pt x="32" y="137"/>
                    <a:pt x="32" y="137"/>
                  </a:cubicBezTo>
                  <a:cubicBezTo>
                    <a:pt x="31" y="138"/>
                    <a:pt x="31" y="139"/>
                    <a:pt x="31" y="141"/>
                  </a:cubicBezTo>
                  <a:cubicBezTo>
                    <a:pt x="20" y="203"/>
                    <a:pt x="20" y="203"/>
                    <a:pt x="20" y="203"/>
                  </a:cubicBezTo>
                  <a:cubicBezTo>
                    <a:pt x="20" y="204"/>
                    <a:pt x="20" y="204"/>
                    <a:pt x="20" y="204"/>
                  </a:cubicBezTo>
                  <a:cubicBezTo>
                    <a:pt x="20" y="210"/>
                    <a:pt x="25" y="214"/>
                    <a:pt x="30" y="214"/>
                  </a:cubicBezTo>
                  <a:cubicBezTo>
                    <a:pt x="38" y="214"/>
                    <a:pt x="38" y="214"/>
                    <a:pt x="38" y="214"/>
                  </a:cubicBezTo>
                  <a:cubicBezTo>
                    <a:pt x="88" y="214"/>
                    <a:pt x="88" y="214"/>
                    <a:pt x="88" y="214"/>
                  </a:cubicBezTo>
                  <a:cubicBezTo>
                    <a:pt x="90" y="214"/>
                    <a:pt x="92" y="216"/>
                    <a:pt x="92" y="218"/>
                  </a:cubicBezTo>
                  <a:cubicBezTo>
                    <a:pt x="92" y="221"/>
                    <a:pt x="90" y="222"/>
                    <a:pt x="88" y="222"/>
                  </a:cubicBezTo>
                  <a:cubicBezTo>
                    <a:pt x="40" y="222"/>
                    <a:pt x="40" y="222"/>
                    <a:pt x="40" y="222"/>
                  </a:cubicBezTo>
                  <a:cubicBezTo>
                    <a:pt x="30" y="222"/>
                    <a:pt x="30" y="222"/>
                    <a:pt x="30" y="222"/>
                  </a:cubicBezTo>
                  <a:cubicBezTo>
                    <a:pt x="20" y="222"/>
                    <a:pt x="12" y="214"/>
                    <a:pt x="12" y="204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23" y="137"/>
                    <a:pt x="24" y="134"/>
                    <a:pt x="26" y="131"/>
                  </a:cubicBezTo>
                  <a:cubicBezTo>
                    <a:pt x="26" y="130"/>
                    <a:pt x="26" y="129"/>
                    <a:pt x="25" y="127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0" y="25"/>
                    <a:pt x="0" y="19"/>
                    <a:pt x="2" y="15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5" y="10"/>
                    <a:pt x="9" y="7"/>
                    <a:pt x="14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20" y="6"/>
                    <a:pt x="23" y="4"/>
                    <a:pt x="28" y="3"/>
                  </a:cubicBezTo>
                  <a:cubicBezTo>
                    <a:pt x="28" y="3"/>
                    <a:pt x="28" y="2"/>
                    <a:pt x="28" y="2"/>
                  </a:cubicBezTo>
                  <a:cubicBezTo>
                    <a:pt x="30" y="2"/>
                    <a:pt x="34" y="2"/>
                    <a:pt x="40" y="1"/>
                  </a:cubicBezTo>
                  <a:cubicBezTo>
                    <a:pt x="52" y="0"/>
                    <a:pt x="63" y="0"/>
                    <a:pt x="74" y="0"/>
                  </a:cubicBezTo>
                  <a:cubicBezTo>
                    <a:pt x="84" y="0"/>
                    <a:pt x="96" y="0"/>
                    <a:pt x="108" y="1"/>
                  </a:cubicBezTo>
                  <a:cubicBezTo>
                    <a:pt x="112" y="1"/>
                    <a:pt x="116" y="2"/>
                    <a:pt x="120" y="2"/>
                  </a:cubicBezTo>
                  <a:cubicBezTo>
                    <a:pt x="130" y="5"/>
                    <a:pt x="133" y="11"/>
                    <a:pt x="133" y="15"/>
                  </a:cubicBezTo>
                  <a:cubicBezTo>
                    <a:pt x="145" y="23"/>
                    <a:pt x="145" y="23"/>
                    <a:pt x="145" y="23"/>
                  </a:cubicBezTo>
                  <a:cubicBezTo>
                    <a:pt x="147" y="24"/>
                    <a:pt x="153" y="30"/>
                    <a:pt x="150" y="54"/>
                  </a:cubicBezTo>
                  <a:cubicBezTo>
                    <a:pt x="147" y="81"/>
                    <a:pt x="136" y="92"/>
                    <a:pt x="131" y="94"/>
                  </a:cubicBezTo>
                  <a:cubicBezTo>
                    <a:pt x="130" y="94"/>
                    <a:pt x="129" y="94"/>
                    <a:pt x="127" y="94"/>
                  </a:cubicBezTo>
                  <a:cubicBezTo>
                    <a:pt x="122" y="128"/>
                    <a:pt x="122" y="128"/>
                    <a:pt x="122" y="128"/>
                  </a:cubicBezTo>
                  <a:cubicBezTo>
                    <a:pt x="122" y="128"/>
                    <a:pt x="122" y="128"/>
                    <a:pt x="122" y="128"/>
                  </a:cubicBezTo>
                  <a:close/>
                  <a:moveTo>
                    <a:pt x="127" y="41"/>
                  </a:moveTo>
                  <a:cubicBezTo>
                    <a:pt x="127" y="39"/>
                    <a:pt x="129" y="38"/>
                    <a:pt x="132" y="38"/>
                  </a:cubicBezTo>
                  <a:cubicBezTo>
                    <a:pt x="132" y="38"/>
                    <a:pt x="132" y="38"/>
                    <a:pt x="132" y="38"/>
                  </a:cubicBezTo>
                  <a:cubicBezTo>
                    <a:pt x="132" y="38"/>
                    <a:pt x="132" y="38"/>
                    <a:pt x="132" y="38"/>
                  </a:cubicBezTo>
                  <a:cubicBezTo>
                    <a:pt x="134" y="38"/>
                    <a:pt x="136" y="40"/>
                    <a:pt x="135" y="42"/>
                  </a:cubicBezTo>
                  <a:cubicBezTo>
                    <a:pt x="129" y="86"/>
                    <a:pt x="129" y="86"/>
                    <a:pt x="129" y="86"/>
                  </a:cubicBezTo>
                  <a:cubicBezTo>
                    <a:pt x="130" y="86"/>
                    <a:pt x="131" y="85"/>
                    <a:pt x="132" y="85"/>
                  </a:cubicBezTo>
                  <a:cubicBezTo>
                    <a:pt x="135" y="82"/>
                    <a:pt x="140" y="71"/>
                    <a:pt x="142" y="53"/>
                  </a:cubicBezTo>
                  <a:cubicBezTo>
                    <a:pt x="145" y="34"/>
                    <a:pt x="141" y="30"/>
                    <a:pt x="140" y="30"/>
                  </a:cubicBezTo>
                  <a:cubicBezTo>
                    <a:pt x="140" y="30"/>
                    <a:pt x="141" y="30"/>
                    <a:pt x="141" y="30"/>
                  </a:cubicBezTo>
                  <a:cubicBezTo>
                    <a:pt x="127" y="20"/>
                    <a:pt x="127" y="20"/>
                    <a:pt x="127" y="20"/>
                  </a:cubicBezTo>
                  <a:cubicBezTo>
                    <a:pt x="126" y="19"/>
                    <a:pt x="125" y="18"/>
                    <a:pt x="125" y="17"/>
                  </a:cubicBezTo>
                  <a:cubicBezTo>
                    <a:pt x="125" y="13"/>
                    <a:pt x="121" y="11"/>
                    <a:pt x="118" y="10"/>
                  </a:cubicBezTo>
                  <a:cubicBezTo>
                    <a:pt x="116" y="10"/>
                    <a:pt x="112" y="9"/>
                    <a:pt x="107" y="9"/>
                  </a:cubicBezTo>
                  <a:cubicBezTo>
                    <a:pt x="95" y="8"/>
                    <a:pt x="84" y="8"/>
                    <a:pt x="74" y="8"/>
                  </a:cubicBezTo>
                  <a:cubicBezTo>
                    <a:pt x="63" y="8"/>
                    <a:pt x="52" y="8"/>
                    <a:pt x="40" y="9"/>
                  </a:cubicBezTo>
                  <a:cubicBezTo>
                    <a:pt x="37" y="9"/>
                    <a:pt x="33" y="10"/>
                    <a:pt x="30" y="10"/>
                  </a:cubicBezTo>
                  <a:cubicBezTo>
                    <a:pt x="26" y="12"/>
                    <a:pt x="24" y="13"/>
                    <a:pt x="23" y="14"/>
                  </a:cubicBezTo>
                  <a:cubicBezTo>
                    <a:pt x="22" y="15"/>
                    <a:pt x="21" y="15"/>
                    <a:pt x="20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2" y="15"/>
                    <a:pt x="10" y="17"/>
                    <a:pt x="9" y="18"/>
                  </a:cubicBezTo>
                  <a:cubicBezTo>
                    <a:pt x="8" y="20"/>
                    <a:pt x="9" y="22"/>
                    <a:pt x="10" y="2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4"/>
                    <a:pt x="24" y="45"/>
                  </a:cubicBezTo>
                  <a:cubicBezTo>
                    <a:pt x="33" y="127"/>
                    <a:pt x="33" y="127"/>
                    <a:pt x="33" y="127"/>
                  </a:cubicBezTo>
                  <a:cubicBezTo>
                    <a:pt x="33" y="127"/>
                    <a:pt x="33" y="127"/>
                    <a:pt x="33" y="127"/>
                  </a:cubicBezTo>
                  <a:cubicBezTo>
                    <a:pt x="33" y="128"/>
                    <a:pt x="34" y="128"/>
                    <a:pt x="34" y="129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14" y="128"/>
                    <a:pt x="114" y="127"/>
                    <a:pt x="115" y="126"/>
                  </a:cubicBezTo>
                  <a:lnTo>
                    <a:pt x="127" y="4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1" name="Freeform 124"/>
            <p:cNvSpPr>
              <a:spLocks noEditPoints="1"/>
            </p:cNvSpPr>
            <p:nvPr/>
          </p:nvSpPr>
          <p:spPr bwMode="auto">
            <a:xfrm>
              <a:off x="7740352" y="3147814"/>
              <a:ext cx="400220" cy="291901"/>
            </a:xfrm>
            <a:custGeom>
              <a:avLst/>
              <a:gdLst>
                <a:gd name="T0" fmla="*/ 144 w 274"/>
                <a:gd name="T1" fmla="*/ 71 h 200"/>
                <a:gd name="T2" fmla="*/ 155 w 274"/>
                <a:gd name="T3" fmla="*/ 82 h 200"/>
                <a:gd name="T4" fmla="*/ 133 w 274"/>
                <a:gd name="T5" fmla="*/ 37 h 200"/>
                <a:gd name="T6" fmla="*/ 154 w 274"/>
                <a:gd name="T7" fmla="*/ 26 h 200"/>
                <a:gd name="T8" fmla="*/ 158 w 274"/>
                <a:gd name="T9" fmla="*/ 82 h 200"/>
                <a:gd name="T10" fmla="*/ 246 w 274"/>
                <a:gd name="T11" fmla="*/ 200 h 200"/>
                <a:gd name="T12" fmla="*/ 221 w 274"/>
                <a:gd name="T13" fmla="*/ 155 h 200"/>
                <a:gd name="T14" fmla="*/ 175 w 274"/>
                <a:gd name="T15" fmla="*/ 99 h 200"/>
                <a:gd name="T16" fmla="*/ 136 w 274"/>
                <a:gd name="T17" fmla="*/ 88 h 200"/>
                <a:gd name="T18" fmla="*/ 114 w 274"/>
                <a:gd name="T19" fmla="*/ 76 h 200"/>
                <a:gd name="T20" fmla="*/ 91 w 274"/>
                <a:gd name="T21" fmla="*/ 65 h 200"/>
                <a:gd name="T22" fmla="*/ 0 w 274"/>
                <a:gd name="T23" fmla="*/ 49 h 200"/>
                <a:gd name="T24" fmla="*/ 91 w 274"/>
                <a:gd name="T25" fmla="*/ 34 h 200"/>
                <a:gd name="T26" fmla="*/ 114 w 274"/>
                <a:gd name="T27" fmla="*/ 23 h 200"/>
                <a:gd name="T28" fmla="*/ 159 w 274"/>
                <a:gd name="T29" fmla="*/ 11 h 200"/>
                <a:gd name="T30" fmla="*/ 244 w 274"/>
                <a:gd name="T31" fmla="*/ 0 h 200"/>
                <a:gd name="T32" fmla="*/ 244 w 274"/>
                <a:gd name="T33" fmla="*/ 31 h 200"/>
                <a:gd name="T34" fmla="*/ 244 w 274"/>
                <a:gd name="T35" fmla="*/ 23 h 200"/>
                <a:gd name="T36" fmla="*/ 244 w 274"/>
                <a:gd name="T37" fmla="*/ 8 h 200"/>
                <a:gd name="T38" fmla="*/ 167 w 274"/>
                <a:gd name="T39" fmla="*/ 15 h 200"/>
                <a:gd name="T40" fmla="*/ 129 w 274"/>
                <a:gd name="T41" fmla="*/ 19 h 200"/>
                <a:gd name="T42" fmla="*/ 117 w 274"/>
                <a:gd name="T43" fmla="*/ 31 h 200"/>
                <a:gd name="T44" fmla="*/ 99 w 274"/>
                <a:gd name="T45" fmla="*/ 38 h 200"/>
                <a:gd name="T46" fmla="*/ 15 w 274"/>
                <a:gd name="T47" fmla="*/ 42 h 200"/>
                <a:gd name="T48" fmla="*/ 15 w 274"/>
                <a:gd name="T49" fmla="*/ 57 h 200"/>
                <a:gd name="T50" fmla="*/ 99 w 274"/>
                <a:gd name="T51" fmla="*/ 61 h 200"/>
                <a:gd name="T52" fmla="*/ 117 w 274"/>
                <a:gd name="T53" fmla="*/ 68 h 200"/>
                <a:gd name="T54" fmla="*/ 129 w 274"/>
                <a:gd name="T55" fmla="*/ 80 h 200"/>
                <a:gd name="T56" fmla="*/ 144 w 274"/>
                <a:gd name="T57" fmla="*/ 84 h 200"/>
                <a:gd name="T58" fmla="*/ 178 w 274"/>
                <a:gd name="T59" fmla="*/ 91 h 200"/>
                <a:gd name="T60" fmla="*/ 204 w 274"/>
                <a:gd name="T61" fmla="*/ 140 h 200"/>
                <a:gd name="T62" fmla="*/ 223 w 274"/>
                <a:gd name="T63" fmla="*/ 147 h 200"/>
                <a:gd name="T64" fmla="*/ 239 w 274"/>
                <a:gd name="T65" fmla="*/ 183 h 200"/>
                <a:gd name="T66" fmla="*/ 246 w 274"/>
                <a:gd name="T67" fmla="*/ 192 h 200"/>
                <a:gd name="T68" fmla="*/ 264 w 274"/>
                <a:gd name="T69" fmla="*/ 190 h 200"/>
                <a:gd name="T70" fmla="*/ 240 w 274"/>
                <a:gd name="T71" fmla="*/ 39 h 200"/>
                <a:gd name="T72" fmla="*/ 248 w 274"/>
                <a:gd name="T73" fmla="*/ 37 h 200"/>
                <a:gd name="T74" fmla="*/ 270 w 274"/>
                <a:gd name="T75" fmla="*/ 195 h 200"/>
                <a:gd name="T76" fmla="*/ 260 w 274"/>
                <a:gd name="T77" fmla="*/ 200 h 200"/>
                <a:gd name="T78" fmla="*/ 246 w 274"/>
                <a:gd name="T79" fmla="*/ 200 h 200"/>
                <a:gd name="T80" fmla="*/ 142 w 274"/>
                <a:gd name="T81" fmla="*/ 26 h 200"/>
                <a:gd name="T82" fmla="*/ 146 w 274"/>
                <a:gd name="T83" fmla="*/ 71 h 200"/>
                <a:gd name="T84" fmla="*/ 135 w 274"/>
                <a:gd name="T85" fmla="*/ 37 h 200"/>
                <a:gd name="T86" fmla="*/ 131 w 274"/>
                <a:gd name="T87" fmla="*/ 60 h 200"/>
                <a:gd name="T88" fmla="*/ 135 w 274"/>
                <a:gd name="T89" fmla="*/ 37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74" h="200">
                  <a:moveTo>
                    <a:pt x="144" y="26"/>
                  </a:moveTo>
                  <a:cubicBezTo>
                    <a:pt x="144" y="71"/>
                    <a:pt x="144" y="71"/>
                    <a:pt x="144" y="71"/>
                  </a:cubicBezTo>
                  <a:moveTo>
                    <a:pt x="155" y="26"/>
                  </a:moveTo>
                  <a:cubicBezTo>
                    <a:pt x="155" y="82"/>
                    <a:pt x="155" y="82"/>
                    <a:pt x="155" y="82"/>
                  </a:cubicBezTo>
                  <a:moveTo>
                    <a:pt x="133" y="60"/>
                  </a:moveTo>
                  <a:cubicBezTo>
                    <a:pt x="133" y="37"/>
                    <a:pt x="133" y="37"/>
                    <a:pt x="133" y="37"/>
                  </a:cubicBezTo>
                  <a:moveTo>
                    <a:pt x="158" y="26"/>
                  </a:moveTo>
                  <a:cubicBezTo>
                    <a:pt x="154" y="26"/>
                    <a:pt x="154" y="26"/>
                    <a:pt x="154" y="26"/>
                  </a:cubicBezTo>
                  <a:cubicBezTo>
                    <a:pt x="154" y="82"/>
                    <a:pt x="154" y="82"/>
                    <a:pt x="154" y="82"/>
                  </a:cubicBezTo>
                  <a:cubicBezTo>
                    <a:pt x="158" y="82"/>
                    <a:pt x="158" y="82"/>
                    <a:pt x="158" y="82"/>
                  </a:cubicBezTo>
                  <a:lnTo>
                    <a:pt x="158" y="26"/>
                  </a:lnTo>
                  <a:close/>
                  <a:moveTo>
                    <a:pt x="246" y="200"/>
                  </a:moveTo>
                  <a:cubicBezTo>
                    <a:pt x="237" y="200"/>
                    <a:pt x="232" y="187"/>
                    <a:pt x="231" y="186"/>
                  </a:cubicBezTo>
                  <a:cubicBezTo>
                    <a:pt x="221" y="155"/>
                    <a:pt x="221" y="155"/>
                    <a:pt x="221" y="155"/>
                  </a:cubicBezTo>
                  <a:cubicBezTo>
                    <a:pt x="213" y="155"/>
                    <a:pt x="199" y="151"/>
                    <a:pt x="197" y="143"/>
                  </a:cubicBezTo>
                  <a:cubicBezTo>
                    <a:pt x="175" y="99"/>
                    <a:pt x="175" y="99"/>
                    <a:pt x="175" y="99"/>
                  </a:cubicBezTo>
                  <a:cubicBezTo>
                    <a:pt x="151" y="99"/>
                    <a:pt x="151" y="99"/>
                    <a:pt x="151" y="99"/>
                  </a:cubicBezTo>
                  <a:cubicBezTo>
                    <a:pt x="144" y="99"/>
                    <a:pt x="138" y="94"/>
                    <a:pt x="136" y="88"/>
                  </a:cubicBezTo>
                  <a:cubicBezTo>
                    <a:pt x="129" y="88"/>
                    <a:pt x="129" y="88"/>
                    <a:pt x="129" y="88"/>
                  </a:cubicBezTo>
                  <a:cubicBezTo>
                    <a:pt x="121" y="88"/>
                    <a:pt x="115" y="83"/>
                    <a:pt x="114" y="76"/>
                  </a:cubicBezTo>
                  <a:cubicBezTo>
                    <a:pt x="106" y="76"/>
                    <a:pt x="106" y="76"/>
                    <a:pt x="106" y="76"/>
                  </a:cubicBezTo>
                  <a:cubicBezTo>
                    <a:pt x="99" y="76"/>
                    <a:pt x="93" y="71"/>
                    <a:pt x="91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7" y="65"/>
                    <a:pt x="0" y="58"/>
                    <a:pt x="0" y="49"/>
                  </a:cubicBezTo>
                  <a:cubicBezTo>
                    <a:pt x="0" y="41"/>
                    <a:pt x="7" y="34"/>
                    <a:pt x="15" y="34"/>
                  </a:cubicBezTo>
                  <a:cubicBezTo>
                    <a:pt x="91" y="34"/>
                    <a:pt x="91" y="34"/>
                    <a:pt x="91" y="34"/>
                  </a:cubicBezTo>
                  <a:cubicBezTo>
                    <a:pt x="93" y="28"/>
                    <a:pt x="99" y="23"/>
                    <a:pt x="106" y="23"/>
                  </a:cubicBezTo>
                  <a:cubicBezTo>
                    <a:pt x="114" y="23"/>
                    <a:pt x="114" y="23"/>
                    <a:pt x="114" y="23"/>
                  </a:cubicBezTo>
                  <a:cubicBezTo>
                    <a:pt x="115" y="16"/>
                    <a:pt x="121" y="11"/>
                    <a:pt x="129" y="11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61" y="5"/>
                    <a:pt x="167" y="0"/>
                    <a:pt x="174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52" y="0"/>
                    <a:pt x="259" y="7"/>
                    <a:pt x="259" y="15"/>
                  </a:cubicBezTo>
                  <a:cubicBezTo>
                    <a:pt x="259" y="24"/>
                    <a:pt x="252" y="31"/>
                    <a:pt x="244" y="31"/>
                  </a:cubicBezTo>
                  <a:cubicBezTo>
                    <a:pt x="242" y="31"/>
                    <a:pt x="240" y="29"/>
                    <a:pt x="240" y="27"/>
                  </a:cubicBezTo>
                  <a:cubicBezTo>
                    <a:pt x="240" y="25"/>
                    <a:pt x="242" y="23"/>
                    <a:pt x="244" y="23"/>
                  </a:cubicBezTo>
                  <a:cubicBezTo>
                    <a:pt x="248" y="23"/>
                    <a:pt x="251" y="20"/>
                    <a:pt x="251" y="15"/>
                  </a:cubicBezTo>
                  <a:cubicBezTo>
                    <a:pt x="251" y="11"/>
                    <a:pt x="248" y="8"/>
                    <a:pt x="244" y="8"/>
                  </a:cubicBezTo>
                  <a:cubicBezTo>
                    <a:pt x="174" y="8"/>
                    <a:pt x="174" y="8"/>
                    <a:pt x="174" y="8"/>
                  </a:cubicBezTo>
                  <a:cubicBezTo>
                    <a:pt x="170" y="8"/>
                    <a:pt x="167" y="11"/>
                    <a:pt x="167" y="15"/>
                  </a:cubicBezTo>
                  <a:cubicBezTo>
                    <a:pt x="167" y="18"/>
                    <a:pt x="165" y="19"/>
                    <a:pt x="163" y="19"/>
                  </a:cubicBezTo>
                  <a:cubicBezTo>
                    <a:pt x="129" y="19"/>
                    <a:pt x="129" y="19"/>
                    <a:pt x="129" y="19"/>
                  </a:cubicBezTo>
                  <a:cubicBezTo>
                    <a:pt x="124" y="19"/>
                    <a:pt x="121" y="23"/>
                    <a:pt x="121" y="27"/>
                  </a:cubicBezTo>
                  <a:cubicBezTo>
                    <a:pt x="121" y="29"/>
                    <a:pt x="119" y="31"/>
                    <a:pt x="117" y="31"/>
                  </a:cubicBezTo>
                  <a:cubicBezTo>
                    <a:pt x="106" y="31"/>
                    <a:pt x="106" y="31"/>
                    <a:pt x="106" y="31"/>
                  </a:cubicBezTo>
                  <a:cubicBezTo>
                    <a:pt x="102" y="31"/>
                    <a:pt x="99" y="34"/>
                    <a:pt x="99" y="38"/>
                  </a:cubicBezTo>
                  <a:cubicBezTo>
                    <a:pt x="99" y="40"/>
                    <a:pt x="97" y="42"/>
                    <a:pt x="95" y="4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1" y="42"/>
                    <a:pt x="8" y="45"/>
                    <a:pt x="8" y="49"/>
                  </a:cubicBezTo>
                  <a:cubicBezTo>
                    <a:pt x="8" y="54"/>
                    <a:pt x="11" y="57"/>
                    <a:pt x="15" y="57"/>
                  </a:cubicBezTo>
                  <a:cubicBezTo>
                    <a:pt x="95" y="57"/>
                    <a:pt x="95" y="57"/>
                    <a:pt x="95" y="57"/>
                  </a:cubicBezTo>
                  <a:cubicBezTo>
                    <a:pt x="97" y="57"/>
                    <a:pt x="99" y="59"/>
                    <a:pt x="99" y="61"/>
                  </a:cubicBezTo>
                  <a:cubicBezTo>
                    <a:pt x="99" y="65"/>
                    <a:pt x="102" y="68"/>
                    <a:pt x="106" y="68"/>
                  </a:cubicBezTo>
                  <a:cubicBezTo>
                    <a:pt x="117" y="68"/>
                    <a:pt x="117" y="68"/>
                    <a:pt x="117" y="68"/>
                  </a:cubicBezTo>
                  <a:cubicBezTo>
                    <a:pt x="119" y="68"/>
                    <a:pt x="121" y="70"/>
                    <a:pt x="121" y="72"/>
                  </a:cubicBezTo>
                  <a:cubicBezTo>
                    <a:pt x="121" y="76"/>
                    <a:pt x="124" y="80"/>
                    <a:pt x="129" y="80"/>
                  </a:cubicBezTo>
                  <a:cubicBezTo>
                    <a:pt x="140" y="80"/>
                    <a:pt x="140" y="80"/>
                    <a:pt x="140" y="80"/>
                  </a:cubicBezTo>
                  <a:cubicBezTo>
                    <a:pt x="142" y="80"/>
                    <a:pt x="144" y="81"/>
                    <a:pt x="144" y="84"/>
                  </a:cubicBezTo>
                  <a:cubicBezTo>
                    <a:pt x="144" y="88"/>
                    <a:pt x="147" y="91"/>
                    <a:pt x="151" y="91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9" y="91"/>
                    <a:pt x="181" y="92"/>
                    <a:pt x="181" y="93"/>
                  </a:cubicBezTo>
                  <a:cubicBezTo>
                    <a:pt x="204" y="140"/>
                    <a:pt x="204" y="140"/>
                    <a:pt x="204" y="140"/>
                  </a:cubicBezTo>
                  <a:cubicBezTo>
                    <a:pt x="205" y="140"/>
                    <a:pt x="205" y="140"/>
                    <a:pt x="205" y="141"/>
                  </a:cubicBezTo>
                  <a:cubicBezTo>
                    <a:pt x="205" y="143"/>
                    <a:pt x="217" y="148"/>
                    <a:pt x="223" y="147"/>
                  </a:cubicBezTo>
                  <a:cubicBezTo>
                    <a:pt x="225" y="146"/>
                    <a:pt x="227" y="147"/>
                    <a:pt x="227" y="149"/>
                  </a:cubicBezTo>
                  <a:cubicBezTo>
                    <a:pt x="239" y="183"/>
                    <a:pt x="239" y="183"/>
                    <a:pt x="239" y="183"/>
                  </a:cubicBezTo>
                  <a:cubicBezTo>
                    <a:pt x="240" y="187"/>
                    <a:pt x="244" y="192"/>
                    <a:pt x="246" y="192"/>
                  </a:cubicBezTo>
                  <a:cubicBezTo>
                    <a:pt x="246" y="192"/>
                    <a:pt x="246" y="192"/>
                    <a:pt x="246" y="192"/>
                  </a:cubicBezTo>
                  <a:cubicBezTo>
                    <a:pt x="260" y="192"/>
                    <a:pt x="260" y="192"/>
                    <a:pt x="260" y="192"/>
                  </a:cubicBezTo>
                  <a:cubicBezTo>
                    <a:pt x="262" y="192"/>
                    <a:pt x="263" y="191"/>
                    <a:pt x="264" y="190"/>
                  </a:cubicBezTo>
                  <a:cubicBezTo>
                    <a:pt x="265" y="188"/>
                    <a:pt x="266" y="186"/>
                    <a:pt x="265" y="183"/>
                  </a:cubicBezTo>
                  <a:cubicBezTo>
                    <a:pt x="240" y="39"/>
                    <a:pt x="240" y="39"/>
                    <a:pt x="240" y="39"/>
                  </a:cubicBezTo>
                  <a:cubicBezTo>
                    <a:pt x="239" y="37"/>
                    <a:pt x="241" y="35"/>
                    <a:pt x="243" y="34"/>
                  </a:cubicBezTo>
                  <a:cubicBezTo>
                    <a:pt x="245" y="34"/>
                    <a:pt x="247" y="35"/>
                    <a:pt x="248" y="37"/>
                  </a:cubicBezTo>
                  <a:cubicBezTo>
                    <a:pt x="273" y="182"/>
                    <a:pt x="273" y="182"/>
                    <a:pt x="273" y="182"/>
                  </a:cubicBezTo>
                  <a:cubicBezTo>
                    <a:pt x="274" y="186"/>
                    <a:pt x="273" y="192"/>
                    <a:pt x="270" y="195"/>
                  </a:cubicBezTo>
                  <a:cubicBezTo>
                    <a:pt x="267" y="198"/>
                    <a:pt x="264" y="200"/>
                    <a:pt x="260" y="200"/>
                  </a:cubicBezTo>
                  <a:cubicBezTo>
                    <a:pt x="260" y="200"/>
                    <a:pt x="260" y="200"/>
                    <a:pt x="260" y="200"/>
                  </a:cubicBezTo>
                  <a:cubicBezTo>
                    <a:pt x="246" y="200"/>
                    <a:pt x="246" y="200"/>
                    <a:pt x="246" y="200"/>
                  </a:cubicBezTo>
                  <a:cubicBezTo>
                    <a:pt x="246" y="200"/>
                    <a:pt x="246" y="200"/>
                    <a:pt x="246" y="200"/>
                  </a:cubicBezTo>
                  <a:close/>
                  <a:moveTo>
                    <a:pt x="146" y="26"/>
                  </a:moveTo>
                  <a:cubicBezTo>
                    <a:pt x="142" y="26"/>
                    <a:pt x="142" y="26"/>
                    <a:pt x="142" y="26"/>
                  </a:cubicBezTo>
                  <a:cubicBezTo>
                    <a:pt x="142" y="71"/>
                    <a:pt x="142" y="71"/>
                    <a:pt x="142" y="71"/>
                  </a:cubicBezTo>
                  <a:cubicBezTo>
                    <a:pt x="146" y="71"/>
                    <a:pt x="146" y="71"/>
                    <a:pt x="146" y="71"/>
                  </a:cubicBezTo>
                  <a:lnTo>
                    <a:pt x="146" y="26"/>
                  </a:lnTo>
                  <a:close/>
                  <a:moveTo>
                    <a:pt x="135" y="37"/>
                  </a:moveTo>
                  <a:cubicBezTo>
                    <a:pt x="131" y="37"/>
                    <a:pt x="131" y="37"/>
                    <a:pt x="131" y="37"/>
                  </a:cubicBezTo>
                  <a:cubicBezTo>
                    <a:pt x="131" y="60"/>
                    <a:pt x="131" y="60"/>
                    <a:pt x="131" y="60"/>
                  </a:cubicBezTo>
                  <a:cubicBezTo>
                    <a:pt x="135" y="60"/>
                    <a:pt x="135" y="60"/>
                    <a:pt x="135" y="60"/>
                  </a:cubicBezTo>
                  <a:lnTo>
                    <a:pt x="135" y="3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grpSp>
          <p:nvGrpSpPr>
            <p:cNvPr id="42" name="Group 127"/>
            <p:cNvGrpSpPr>
              <a:grpSpLocks noChangeAspect="1"/>
            </p:cNvGrpSpPr>
            <p:nvPr/>
          </p:nvGrpSpPr>
          <p:grpSpPr bwMode="auto">
            <a:xfrm>
              <a:off x="6589146" y="3435846"/>
              <a:ext cx="251106" cy="388968"/>
              <a:chOff x="4949" y="1398"/>
              <a:chExt cx="357" cy="553"/>
            </a:xfrm>
            <a:grpFill/>
          </p:grpSpPr>
          <p:sp>
            <p:nvSpPr>
              <p:cNvPr id="54" name="Freeform 128"/>
              <p:cNvSpPr>
                <a:spLocks noEditPoints="1"/>
              </p:cNvSpPr>
              <p:nvPr/>
            </p:nvSpPr>
            <p:spPr bwMode="auto">
              <a:xfrm>
                <a:off x="4992" y="1474"/>
                <a:ext cx="270" cy="398"/>
              </a:xfrm>
              <a:custGeom>
                <a:avLst/>
                <a:gdLst>
                  <a:gd name="T0" fmla="*/ 0 w 270"/>
                  <a:gd name="T1" fmla="*/ 398 h 398"/>
                  <a:gd name="T2" fmla="*/ 270 w 270"/>
                  <a:gd name="T3" fmla="*/ 398 h 398"/>
                  <a:gd name="T4" fmla="*/ 270 w 270"/>
                  <a:gd name="T5" fmla="*/ 0 h 398"/>
                  <a:gd name="T6" fmla="*/ 0 w 270"/>
                  <a:gd name="T7" fmla="*/ 0 h 398"/>
                  <a:gd name="T8" fmla="*/ 0 w 270"/>
                  <a:gd name="T9" fmla="*/ 398 h 398"/>
                  <a:gd name="T10" fmla="*/ 0 w 270"/>
                  <a:gd name="T11" fmla="*/ 398 h 398"/>
                  <a:gd name="T12" fmla="*/ 7 w 270"/>
                  <a:gd name="T13" fmla="*/ 7 h 398"/>
                  <a:gd name="T14" fmla="*/ 264 w 270"/>
                  <a:gd name="T15" fmla="*/ 7 h 398"/>
                  <a:gd name="T16" fmla="*/ 264 w 270"/>
                  <a:gd name="T17" fmla="*/ 391 h 398"/>
                  <a:gd name="T18" fmla="*/ 7 w 270"/>
                  <a:gd name="T19" fmla="*/ 391 h 398"/>
                  <a:gd name="T20" fmla="*/ 7 w 270"/>
                  <a:gd name="T21" fmla="*/ 7 h 398"/>
                  <a:gd name="T22" fmla="*/ 7 w 270"/>
                  <a:gd name="T23" fmla="*/ 7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70" h="398">
                    <a:moveTo>
                      <a:pt x="0" y="398"/>
                    </a:moveTo>
                    <a:lnTo>
                      <a:pt x="270" y="398"/>
                    </a:lnTo>
                    <a:lnTo>
                      <a:pt x="270" y="0"/>
                    </a:lnTo>
                    <a:lnTo>
                      <a:pt x="0" y="0"/>
                    </a:lnTo>
                    <a:lnTo>
                      <a:pt x="0" y="398"/>
                    </a:lnTo>
                    <a:lnTo>
                      <a:pt x="0" y="398"/>
                    </a:lnTo>
                    <a:close/>
                    <a:moveTo>
                      <a:pt x="7" y="7"/>
                    </a:moveTo>
                    <a:lnTo>
                      <a:pt x="264" y="7"/>
                    </a:lnTo>
                    <a:lnTo>
                      <a:pt x="264" y="391"/>
                    </a:lnTo>
                    <a:lnTo>
                      <a:pt x="7" y="391"/>
                    </a:lnTo>
                    <a:lnTo>
                      <a:pt x="7" y="7"/>
                    </a:lnTo>
                    <a:lnTo>
                      <a:pt x="7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/>
              </a:p>
            </p:txBody>
          </p:sp>
          <p:sp>
            <p:nvSpPr>
              <p:cNvPr id="55" name="Oval 129"/>
              <p:cNvSpPr>
                <a:spLocks noChangeArrowheads="1"/>
              </p:cNvSpPr>
              <p:nvPr/>
            </p:nvSpPr>
            <p:spPr bwMode="auto">
              <a:xfrm>
                <a:off x="5110" y="1886"/>
                <a:ext cx="37" cy="3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/>
              </a:p>
            </p:txBody>
          </p:sp>
          <p:sp>
            <p:nvSpPr>
              <p:cNvPr id="56" name="Freeform 130"/>
              <p:cNvSpPr>
                <a:spLocks/>
              </p:cNvSpPr>
              <p:nvPr/>
            </p:nvSpPr>
            <p:spPr bwMode="auto">
              <a:xfrm>
                <a:off x="4949" y="1398"/>
                <a:ext cx="357" cy="553"/>
              </a:xfrm>
              <a:custGeom>
                <a:avLst/>
                <a:gdLst>
                  <a:gd name="T0" fmla="*/ 128 w 155"/>
                  <a:gd name="T1" fmla="*/ 0 h 240"/>
                  <a:gd name="T2" fmla="*/ 27 w 155"/>
                  <a:gd name="T3" fmla="*/ 0 h 240"/>
                  <a:gd name="T4" fmla="*/ 0 w 155"/>
                  <a:gd name="T5" fmla="*/ 25 h 240"/>
                  <a:gd name="T6" fmla="*/ 0 w 155"/>
                  <a:gd name="T7" fmla="*/ 215 h 240"/>
                  <a:gd name="T8" fmla="*/ 27 w 155"/>
                  <a:gd name="T9" fmla="*/ 240 h 240"/>
                  <a:gd name="T10" fmla="*/ 67 w 155"/>
                  <a:gd name="T11" fmla="*/ 240 h 240"/>
                  <a:gd name="T12" fmla="*/ 71 w 155"/>
                  <a:gd name="T13" fmla="*/ 236 h 240"/>
                  <a:gd name="T14" fmla="*/ 67 w 155"/>
                  <a:gd name="T15" fmla="*/ 232 h 240"/>
                  <a:gd name="T16" fmla="*/ 27 w 155"/>
                  <a:gd name="T17" fmla="*/ 232 h 240"/>
                  <a:gd name="T18" fmla="*/ 8 w 155"/>
                  <a:gd name="T19" fmla="*/ 215 h 240"/>
                  <a:gd name="T20" fmla="*/ 8 w 155"/>
                  <a:gd name="T21" fmla="*/ 25 h 240"/>
                  <a:gd name="T22" fmla="*/ 27 w 155"/>
                  <a:gd name="T23" fmla="*/ 8 h 240"/>
                  <a:gd name="T24" fmla="*/ 128 w 155"/>
                  <a:gd name="T25" fmla="*/ 8 h 240"/>
                  <a:gd name="T26" fmla="*/ 147 w 155"/>
                  <a:gd name="T27" fmla="*/ 25 h 240"/>
                  <a:gd name="T28" fmla="*/ 147 w 155"/>
                  <a:gd name="T29" fmla="*/ 215 h 240"/>
                  <a:gd name="T30" fmla="*/ 128 w 155"/>
                  <a:gd name="T31" fmla="*/ 232 h 240"/>
                  <a:gd name="T32" fmla="*/ 89 w 155"/>
                  <a:gd name="T33" fmla="*/ 232 h 240"/>
                  <a:gd name="T34" fmla="*/ 85 w 155"/>
                  <a:gd name="T35" fmla="*/ 236 h 240"/>
                  <a:gd name="T36" fmla="*/ 89 w 155"/>
                  <a:gd name="T37" fmla="*/ 240 h 240"/>
                  <a:gd name="T38" fmla="*/ 128 w 155"/>
                  <a:gd name="T39" fmla="*/ 240 h 240"/>
                  <a:gd name="T40" fmla="*/ 155 w 155"/>
                  <a:gd name="T41" fmla="*/ 215 h 240"/>
                  <a:gd name="T42" fmla="*/ 155 w 155"/>
                  <a:gd name="T43" fmla="*/ 25 h 240"/>
                  <a:gd name="T44" fmla="*/ 128 w 155"/>
                  <a:gd name="T4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5" h="240">
                    <a:moveTo>
                      <a:pt x="128" y="0"/>
                    </a:moveTo>
                    <a:cubicBezTo>
                      <a:pt x="27" y="0"/>
                      <a:pt x="27" y="0"/>
                      <a:pt x="27" y="0"/>
                    </a:cubicBezTo>
                    <a:cubicBezTo>
                      <a:pt x="12" y="0"/>
                      <a:pt x="0" y="12"/>
                      <a:pt x="0" y="25"/>
                    </a:cubicBezTo>
                    <a:cubicBezTo>
                      <a:pt x="0" y="215"/>
                      <a:pt x="0" y="215"/>
                      <a:pt x="0" y="215"/>
                    </a:cubicBezTo>
                    <a:cubicBezTo>
                      <a:pt x="0" y="228"/>
                      <a:pt x="12" y="240"/>
                      <a:pt x="27" y="240"/>
                    </a:cubicBezTo>
                    <a:cubicBezTo>
                      <a:pt x="67" y="240"/>
                      <a:pt x="67" y="240"/>
                      <a:pt x="67" y="240"/>
                    </a:cubicBezTo>
                    <a:cubicBezTo>
                      <a:pt x="70" y="240"/>
                      <a:pt x="71" y="239"/>
                      <a:pt x="71" y="236"/>
                    </a:cubicBezTo>
                    <a:cubicBezTo>
                      <a:pt x="71" y="234"/>
                      <a:pt x="70" y="232"/>
                      <a:pt x="67" y="232"/>
                    </a:cubicBezTo>
                    <a:cubicBezTo>
                      <a:pt x="27" y="232"/>
                      <a:pt x="27" y="232"/>
                      <a:pt x="27" y="232"/>
                    </a:cubicBezTo>
                    <a:cubicBezTo>
                      <a:pt x="16" y="232"/>
                      <a:pt x="8" y="225"/>
                      <a:pt x="8" y="215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8" y="15"/>
                      <a:pt x="16" y="8"/>
                      <a:pt x="27" y="8"/>
                    </a:cubicBezTo>
                    <a:cubicBezTo>
                      <a:pt x="128" y="8"/>
                      <a:pt x="128" y="8"/>
                      <a:pt x="128" y="8"/>
                    </a:cubicBezTo>
                    <a:cubicBezTo>
                      <a:pt x="139" y="8"/>
                      <a:pt x="147" y="15"/>
                      <a:pt x="147" y="25"/>
                    </a:cubicBezTo>
                    <a:cubicBezTo>
                      <a:pt x="147" y="215"/>
                      <a:pt x="147" y="215"/>
                      <a:pt x="147" y="215"/>
                    </a:cubicBezTo>
                    <a:cubicBezTo>
                      <a:pt x="147" y="225"/>
                      <a:pt x="139" y="232"/>
                      <a:pt x="128" y="232"/>
                    </a:cubicBezTo>
                    <a:cubicBezTo>
                      <a:pt x="89" y="232"/>
                      <a:pt x="89" y="232"/>
                      <a:pt x="89" y="232"/>
                    </a:cubicBezTo>
                    <a:cubicBezTo>
                      <a:pt x="87" y="232"/>
                      <a:pt x="85" y="234"/>
                      <a:pt x="85" y="236"/>
                    </a:cubicBezTo>
                    <a:cubicBezTo>
                      <a:pt x="85" y="239"/>
                      <a:pt x="87" y="240"/>
                      <a:pt x="89" y="240"/>
                    </a:cubicBezTo>
                    <a:cubicBezTo>
                      <a:pt x="128" y="240"/>
                      <a:pt x="128" y="240"/>
                      <a:pt x="128" y="240"/>
                    </a:cubicBezTo>
                    <a:cubicBezTo>
                      <a:pt x="143" y="240"/>
                      <a:pt x="155" y="228"/>
                      <a:pt x="155" y="215"/>
                    </a:cubicBezTo>
                    <a:cubicBezTo>
                      <a:pt x="155" y="25"/>
                      <a:pt x="155" y="25"/>
                      <a:pt x="155" y="25"/>
                    </a:cubicBezTo>
                    <a:cubicBezTo>
                      <a:pt x="155" y="12"/>
                      <a:pt x="143" y="0"/>
                      <a:pt x="12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/>
              </a:p>
            </p:txBody>
          </p:sp>
          <p:sp>
            <p:nvSpPr>
              <p:cNvPr id="57" name="Freeform 131"/>
              <p:cNvSpPr>
                <a:spLocks/>
              </p:cNvSpPr>
              <p:nvPr/>
            </p:nvSpPr>
            <p:spPr bwMode="auto">
              <a:xfrm>
                <a:off x="5089" y="1444"/>
                <a:ext cx="77" cy="16"/>
              </a:xfrm>
              <a:custGeom>
                <a:avLst/>
                <a:gdLst>
                  <a:gd name="T0" fmla="*/ 29 w 33"/>
                  <a:gd name="T1" fmla="*/ 7 h 7"/>
                  <a:gd name="T2" fmla="*/ 33 w 33"/>
                  <a:gd name="T3" fmla="*/ 3 h 7"/>
                  <a:gd name="T4" fmla="*/ 29 w 33"/>
                  <a:gd name="T5" fmla="*/ 0 h 7"/>
                  <a:gd name="T6" fmla="*/ 4 w 33"/>
                  <a:gd name="T7" fmla="*/ 0 h 7"/>
                  <a:gd name="T8" fmla="*/ 0 w 33"/>
                  <a:gd name="T9" fmla="*/ 3 h 7"/>
                  <a:gd name="T10" fmla="*/ 4 w 33"/>
                  <a:gd name="T11" fmla="*/ 7 h 7"/>
                  <a:gd name="T12" fmla="*/ 29 w 33"/>
                  <a:gd name="T1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7">
                    <a:moveTo>
                      <a:pt x="29" y="7"/>
                    </a:moveTo>
                    <a:cubicBezTo>
                      <a:pt x="30" y="7"/>
                      <a:pt x="33" y="6"/>
                      <a:pt x="33" y="3"/>
                    </a:cubicBezTo>
                    <a:cubicBezTo>
                      <a:pt x="33" y="2"/>
                      <a:pt x="30" y="0"/>
                      <a:pt x="2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0" y="2"/>
                      <a:pt x="0" y="3"/>
                    </a:cubicBezTo>
                    <a:cubicBezTo>
                      <a:pt x="0" y="6"/>
                      <a:pt x="3" y="7"/>
                      <a:pt x="4" y="7"/>
                    </a:cubicBezTo>
                    <a:cubicBezTo>
                      <a:pt x="29" y="7"/>
                      <a:pt x="29" y="7"/>
                      <a:pt x="29" y="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/>
              </a:p>
            </p:txBody>
          </p:sp>
        </p:grpSp>
        <p:sp>
          <p:nvSpPr>
            <p:cNvPr id="43" name="Freeform 136"/>
            <p:cNvSpPr>
              <a:spLocks noEditPoints="1"/>
            </p:cNvSpPr>
            <p:nvPr/>
          </p:nvSpPr>
          <p:spPr bwMode="auto">
            <a:xfrm>
              <a:off x="6084168" y="3687874"/>
              <a:ext cx="427138" cy="351184"/>
            </a:xfrm>
            <a:custGeom>
              <a:avLst/>
              <a:gdLst>
                <a:gd name="T0" fmla="*/ 128 w 221"/>
                <a:gd name="T1" fmla="*/ 160 h 182"/>
                <a:gd name="T2" fmla="*/ 134 w 221"/>
                <a:gd name="T3" fmla="*/ 165 h 182"/>
                <a:gd name="T4" fmla="*/ 128 w 221"/>
                <a:gd name="T5" fmla="*/ 170 h 182"/>
                <a:gd name="T6" fmla="*/ 90 w 221"/>
                <a:gd name="T7" fmla="*/ 170 h 182"/>
                <a:gd name="T8" fmla="*/ 85 w 221"/>
                <a:gd name="T9" fmla="*/ 165 h 182"/>
                <a:gd name="T10" fmla="*/ 90 w 221"/>
                <a:gd name="T11" fmla="*/ 160 h 182"/>
                <a:gd name="T12" fmla="*/ 128 w 221"/>
                <a:gd name="T13" fmla="*/ 160 h 182"/>
                <a:gd name="T14" fmla="*/ 207 w 221"/>
                <a:gd name="T15" fmla="*/ 182 h 182"/>
                <a:gd name="T16" fmla="*/ 221 w 221"/>
                <a:gd name="T17" fmla="*/ 169 h 182"/>
                <a:gd name="T18" fmla="*/ 221 w 221"/>
                <a:gd name="T19" fmla="*/ 146 h 182"/>
                <a:gd name="T20" fmla="*/ 0 w 221"/>
                <a:gd name="T21" fmla="*/ 146 h 182"/>
                <a:gd name="T22" fmla="*/ 0 w 221"/>
                <a:gd name="T23" fmla="*/ 169 h 182"/>
                <a:gd name="T24" fmla="*/ 13 w 221"/>
                <a:gd name="T25" fmla="*/ 182 h 182"/>
                <a:gd name="T26" fmla="*/ 207 w 221"/>
                <a:gd name="T27" fmla="*/ 182 h 182"/>
                <a:gd name="T28" fmla="*/ 214 w 221"/>
                <a:gd name="T29" fmla="*/ 153 h 182"/>
                <a:gd name="T30" fmla="*/ 214 w 221"/>
                <a:gd name="T31" fmla="*/ 169 h 182"/>
                <a:gd name="T32" fmla="*/ 207 w 221"/>
                <a:gd name="T33" fmla="*/ 175 h 182"/>
                <a:gd name="T34" fmla="*/ 13 w 221"/>
                <a:gd name="T35" fmla="*/ 175 h 182"/>
                <a:gd name="T36" fmla="*/ 7 w 221"/>
                <a:gd name="T37" fmla="*/ 169 h 182"/>
                <a:gd name="T38" fmla="*/ 7 w 221"/>
                <a:gd name="T39" fmla="*/ 153 h 182"/>
                <a:gd name="T40" fmla="*/ 214 w 221"/>
                <a:gd name="T41" fmla="*/ 153 h 182"/>
                <a:gd name="T42" fmla="*/ 214 w 221"/>
                <a:gd name="T43" fmla="*/ 153 h 182"/>
                <a:gd name="T44" fmla="*/ 208 w 221"/>
                <a:gd name="T45" fmla="*/ 143 h 182"/>
                <a:gd name="T46" fmla="*/ 211 w 221"/>
                <a:gd name="T47" fmla="*/ 139 h 182"/>
                <a:gd name="T48" fmla="*/ 211 w 221"/>
                <a:gd name="T49" fmla="*/ 11 h 182"/>
                <a:gd name="T50" fmla="*/ 208 w 221"/>
                <a:gd name="T51" fmla="*/ 9 h 182"/>
                <a:gd name="T52" fmla="*/ 204 w 221"/>
                <a:gd name="T53" fmla="*/ 11 h 182"/>
                <a:gd name="T54" fmla="*/ 204 w 221"/>
                <a:gd name="T55" fmla="*/ 136 h 182"/>
                <a:gd name="T56" fmla="*/ 17 w 221"/>
                <a:gd name="T57" fmla="*/ 136 h 182"/>
                <a:gd name="T58" fmla="*/ 17 w 221"/>
                <a:gd name="T59" fmla="*/ 6 h 182"/>
                <a:gd name="T60" fmla="*/ 198 w 221"/>
                <a:gd name="T61" fmla="*/ 6 h 182"/>
                <a:gd name="T62" fmla="*/ 202 w 221"/>
                <a:gd name="T63" fmla="*/ 3 h 182"/>
                <a:gd name="T64" fmla="*/ 198 w 221"/>
                <a:gd name="T65" fmla="*/ 0 h 182"/>
                <a:gd name="T66" fmla="*/ 13 w 221"/>
                <a:gd name="T67" fmla="*/ 0 h 182"/>
                <a:gd name="T68" fmla="*/ 10 w 221"/>
                <a:gd name="T69" fmla="*/ 3 h 182"/>
                <a:gd name="T70" fmla="*/ 10 w 221"/>
                <a:gd name="T71" fmla="*/ 139 h 182"/>
                <a:gd name="T72" fmla="*/ 13 w 221"/>
                <a:gd name="T73" fmla="*/ 143 h 182"/>
                <a:gd name="T74" fmla="*/ 208 w 221"/>
                <a:gd name="T75" fmla="*/ 143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1" h="182">
                  <a:moveTo>
                    <a:pt x="128" y="160"/>
                  </a:moveTo>
                  <a:cubicBezTo>
                    <a:pt x="131" y="160"/>
                    <a:pt x="134" y="162"/>
                    <a:pt x="134" y="165"/>
                  </a:cubicBezTo>
                  <a:cubicBezTo>
                    <a:pt x="134" y="168"/>
                    <a:pt x="131" y="170"/>
                    <a:pt x="128" y="170"/>
                  </a:cubicBezTo>
                  <a:cubicBezTo>
                    <a:pt x="90" y="170"/>
                    <a:pt x="90" y="170"/>
                    <a:pt x="90" y="170"/>
                  </a:cubicBezTo>
                  <a:cubicBezTo>
                    <a:pt x="87" y="170"/>
                    <a:pt x="85" y="168"/>
                    <a:pt x="85" y="165"/>
                  </a:cubicBezTo>
                  <a:cubicBezTo>
                    <a:pt x="85" y="162"/>
                    <a:pt x="87" y="160"/>
                    <a:pt x="90" y="160"/>
                  </a:cubicBezTo>
                  <a:cubicBezTo>
                    <a:pt x="128" y="160"/>
                    <a:pt x="128" y="160"/>
                    <a:pt x="128" y="160"/>
                  </a:cubicBezTo>
                  <a:moveTo>
                    <a:pt x="207" y="182"/>
                  </a:moveTo>
                  <a:cubicBezTo>
                    <a:pt x="215" y="182"/>
                    <a:pt x="221" y="176"/>
                    <a:pt x="221" y="169"/>
                  </a:cubicBezTo>
                  <a:cubicBezTo>
                    <a:pt x="221" y="146"/>
                    <a:pt x="221" y="146"/>
                    <a:pt x="221" y="146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176"/>
                    <a:pt x="5" y="182"/>
                    <a:pt x="13" y="182"/>
                  </a:cubicBezTo>
                  <a:cubicBezTo>
                    <a:pt x="207" y="182"/>
                    <a:pt x="207" y="182"/>
                    <a:pt x="207" y="182"/>
                  </a:cubicBezTo>
                  <a:moveTo>
                    <a:pt x="214" y="153"/>
                  </a:moveTo>
                  <a:cubicBezTo>
                    <a:pt x="214" y="169"/>
                    <a:pt x="214" y="169"/>
                    <a:pt x="214" y="169"/>
                  </a:cubicBezTo>
                  <a:cubicBezTo>
                    <a:pt x="214" y="172"/>
                    <a:pt x="211" y="175"/>
                    <a:pt x="207" y="175"/>
                  </a:cubicBezTo>
                  <a:cubicBezTo>
                    <a:pt x="13" y="175"/>
                    <a:pt x="13" y="175"/>
                    <a:pt x="13" y="175"/>
                  </a:cubicBezTo>
                  <a:cubicBezTo>
                    <a:pt x="10" y="175"/>
                    <a:pt x="7" y="172"/>
                    <a:pt x="7" y="169"/>
                  </a:cubicBezTo>
                  <a:cubicBezTo>
                    <a:pt x="7" y="153"/>
                    <a:pt x="7" y="153"/>
                    <a:pt x="7" y="153"/>
                  </a:cubicBezTo>
                  <a:cubicBezTo>
                    <a:pt x="214" y="153"/>
                    <a:pt x="214" y="153"/>
                    <a:pt x="214" y="153"/>
                  </a:cubicBezTo>
                  <a:cubicBezTo>
                    <a:pt x="214" y="153"/>
                    <a:pt x="214" y="153"/>
                    <a:pt x="214" y="153"/>
                  </a:cubicBezTo>
                  <a:close/>
                  <a:moveTo>
                    <a:pt x="208" y="143"/>
                  </a:moveTo>
                  <a:cubicBezTo>
                    <a:pt x="210" y="143"/>
                    <a:pt x="211" y="142"/>
                    <a:pt x="211" y="139"/>
                  </a:cubicBezTo>
                  <a:cubicBezTo>
                    <a:pt x="211" y="11"/>
                    <a:pt x="211" y="11"/>
                    <a:pt x="211" y="11"/>
                  </a:cubicBezTo>
                  <a:cubicBezTo>
                    <a:pt x="211" y="10"/>
                    <a:pt x="210" y="9"/>
                    <a:pt x="208" y="9"/>
                  </a:cubicBezTo>
                  <a:cubicBezTo>
                    <a:pt x="205" y="9"/>
                    <a:pt x="204" y="10"/>
                    <a:pt x="204" y="11"/>
                  </a:cubicBezTo>
                  <a:cubicBezTo>
                    <a:pt x="204" y="136"/>
                    <a:pt x="204" y="136"/>
                    <a:pt x="204" y="136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98" y="6"/>
                    <a:pt x="198" y="6"/>
                    <a:pt x="198" y="6"/>
                  </a:cubicBezTo>
                  <a:cubicBezTo>
                    <a:pt x="201" y="6"/>
                    <a:pt x="202" y="4"/>
                    <a:pt x="202" y="3"/>
                  </a:cubicBezTo>
                  <a:cubicBezTo>
                    <a:pt x="202" y="1"/>
                    <a:pt x="201" y="0"/>
                    <a:pt x="198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1" y="0"/>
                    <a:pt x="10" y="1"/>
                    <a:pt x="10" y="3"/>
                  </a:cubicBezTo>
                  <a:cubicBezTo>
                    <a:pt x="10" y="139"/>
                    <a:pt x="10" y="139"/>
                    <a:pt x="10" y="139"/>
                  </a:cubicBezTo>
                  <a:cubicBezTo>
                    <a:pt x="10" y="142"/>
                    <a:pt x="11" y="143"/>
                    <a:pt x="13" y="143"/>
                  </a:cubicBezTo>
                  <a:cubicBezTo>
                    <a:pt x="208" y="143"/>
                    <a:pt x="208" y="143"/>
                    <a:pt x="208" y="143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grpSp>
          <p:nvGrpSpPr>
            <p:cNvPr id="44" name="Group 127"/>
            <p:cNvGrpSpPr>
              <a:grpSpLocks noChangeAspect="1"/>
            </p:cNvGrpSpPr>
            <p:nvPr/>
          </p:nvGrpSpPr>
          <p:grpSpPr bwMode="auto">
            <a:xfrm>
              <a:off x="7344280" y="2463741"/>
              <a:ext cx="251104" cy="388968"/>
              <a:chOff x="4949" y="1398"/>
              <a:chExt cx="357" cy="553"/>
            </a:xfrm>
            <a:grpFill/>
          </p:grpSpPr>
          <p:sp>
            <p:nvSpPr>
              <p:cNvPr id="50" name="Freeform 128"/>
              <p:cNvSpPr>
                <a:spLocks noEditPoints="1"/>
              </p:cNvSpPr>
              <p:nvPr/>
            </p:nvSpPr>
            <p:spPr bwMode="auto">
              <a:xfrm>
                <a:off x="4992" y="1474"/>
                <a:ext cx="270" cy="398"/>
              </a:xfrm>
              <a:custGeom>
                <a:avLst/>
                <a:gdLst>
                  <a:gd name="T0" fmla="*/ 0 w 270"/>
                  <a:gd name="T1" fmla="*/ 398 h 398"/>
                  <a:gd name="T2" fmla="*/ 270 w 270"/>
                  <a:gd name="T3" fmla="*/ 398 h 398"/>
                  <a:gd name="T4" fmla="*/ 270 w 270"/>
                  <a:gd name="T5" fmla="*/ 0 h 398"/>
                  <a:gd name="T6" fmla="*/ 0 w 270"/>
                  <a:gd name="T7" fmla="*/ 0 h 398"/>
                  <a:gd name="T8" fmla="*/ 0 w 270"/>
                  <a:gd name="T9" fmla="*/ 398 h 398"/>
                  <a:gd name="T10" fmla="*/ 0 w 270"/>
                  <a:gd name="T11" fmla="*/ 398 h 398"/>
                  <a:gd name="T12" fmla="*/ 7 w 270"/>
                  <a:gd name="T13" fmla="*/ 7 h 398"/>
                  <a:gd name="T14" fmla="*/ 264 w 270"/>
                  <a:gd name="T15" fmla="*/ 7 h 398"/>
                  <a:gd name="T16" fmla="*/ 264 w 270"/>
                  <a:gd name="T17" fmla="*/ 391 h 398"/>
                  <a:gd name="T18" fmla="*/ 7 w 270"/>
                  <a:gd name="T19" fmla="*/ 391 h 398"/>
                  <a:gd name="T20" fmla="*/ 7 w 270"/>
                  <a:gd name="T21" fmla="*/ 7 h 398"/>
                  <a:gd name="T22" fmla="*/ 7 w 270"/>
                  <a:gd name="T23" fmla="*/ 7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70" h="398">
                    <a:moveTo>
                      <a:pt x="0" y="398"/>
                    </a:moveTo>
                    <a:lnTo>
                      <a:pt x="270" y="398"/>
                    </a:lnTo>
                    <a:lnTo>
                      <a:pt x="270" y="0"/>
                    </a:lnTo>
                    <a:lnTo>
                      <a:pt x="0" y="0"/>
                    </a:lnTo>
                    <a:lnTo>
                      <a:pt x="0" y="398"/>
                    </a:lnTo>
                    <a:lnTo>
                      <a:pt x="0" y="398"/>
                    </a:lnTo>
                    <a:close/>
                    <a:moveTo>
                      <a:pt x="7" y="7"/>
                    </a:moveTo>
                    <a:lnTo>
                      <a:pt x="264" y="7"/>
                    </a:lnTo>
                    <a:lnTo>
                      <a:pt x="264" y="391"/>
                    </a:lnTo>
                    <a:lnTo>
                      <a:pt x="7" y="391"/>
                    </a:lnTo>
                    <a:lnTo>
                      <a:pt x="7" y="7"/>
                    </a:lnTo>
                    <a:lnTo>
                      <a:pt x="7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/>
              </a:p>
            </p:txBody>
          </p:sp>
          <p:sp>
            <p:nvSpPr>
              <p:cNvPr id="51" name="Oval 129"/>
              <p:cNvSpPr>
                <a:spLocks noChangeArrowheads="1"/>
              </p:cNvSpPr>
              <p:nvPr/>
            </p:nvSpPr>
            <p:spPr bwMode="auto">
              <a:xfrm>
                <a:off x="5110" y="1886"/>
                <a:ext cx="37" cy="3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/>
              </a:p>
            </p:txBody>
          </p:sp>
          <p:sp>
            <p:nvSpPr>
              <p:cNvPr id="52" name="Freeform 130"/>
              <p:cNvSpPr>
                <a:spLocks/>
              </p:cNvSpPr>
              <p:nvPr/>
            </p:nvSpPr>
            <p:spPr bwMode="auto">
              <a:xfrm>
                <a:off x="4949" y="1398"/>
                <a:ext cx="357" cy="553"/>
              </a:xfrm>
              <a:custGeom>
                <a:avLst/>
                <a:gdLst>
                  <a:gd name="T0" fmla="*/ 128 w 155"/>
                  <a:gd name="T1" fmla="*/ 0 h 240"/>
                  <a:gd name="T2" fmla="*/ 27 w 155"/>
                  <a:gd name="T3" fmla="*/ 0 h 240"/>
                  <a:gd name="T4" fmla="*/ 0 w 155"/>
                  <a:gd name="T5" fmla="*/ 25 h 240"/>
                  <a:gd name="T6" fmla="*/ 0 w 155"/>
                  <a:gd name="T7" fmla="*/ 215 h 240"/>
                  <a:gd name="T8" fmla="*/ 27 w 155"/>
                  <a:gd name="T9" fmla="*/ 240 h 240"/>
                  <a:gd name="T10" fmla="*/ 67 w 155"/>
                  <a:gd name="T11" fmla="*/ 240 h 240"/>
                  <a:gd name="T12" fmla="*/ 71 w 155"/>
                  <a:gd name="T13" fmla="*/ 236 h 240"/>
                  <a:gd name="T14" fmla="*/ 67 w 155"/>
                  <a:gd name="T15" fmla="*/ 232 h 240"/>
                  <a:gd name="T16" fmla="*/ 27 w 155"/>
                  <a:gd name="T17" fmla="*/ 232 h 240"/>
                  <a:gd name="T18" fmla="*/ 8 w 155"/>
                  <a:gd name="T19" fmla="*/ 215 h 240"/>
                  <a:gd name="T20" fmla="*/ 8 w 155"/>
                  <a:gd name="T21" fmla="*/ 25 h 240"/>
                  <a:gd name="T22" fmla="*/ 27 w 155"/>
                  <a:gd name="T23" fmla="*/ 8 h 240"/>
                  <a:gd name="T24" fmla="*/ 128 w 155"/>
                  <a:gd name="T25" fmla="*/ 8 h 240"/>
                  <a:gd name="T26" fmla="*/ 147 w 155"/>
                  <a:gd name="T27" fmla="*/ 25 h 240"/>
                  <a:gd name="T28" fmla="*/ 147 w 155"/>
                  <a:gd name="T29" fmla="*/ 215 h 240"/>
                  <a:gd name="T30" fmla="*/ 128 w 155"/>
                  <a:gd name="T31" fmla="*/ 232 h 240"/>
                  <a:gd name="T32" fmla="*/ 89 w 155"/>
                  <a:gd name="T33" fmla="*/ 232 h 240"/>
                  <a:gd name="T34" fmla="*/ 85 w 155"/>
                  <a:gd name="T35" fmla="*/ 236 h 240"/>
                  <a:gd name="T36" fmla="*/ 89 w 155"/>
                  <a:gd name="T37" fmla="*/ 240 h 240"/>
                  <a:gd name="T38" fmla="*/ 128 w 155"/>
                  <a:gd name="T39" fmla="*/ 240 h 240"/>
                  <a:gd name="T40" fmla="*/ 155 w 155"/>
                  <a:gd name="T41" fmla="*/ 215 h 240"/>
                  <a:gd name="T42" fmla="*/ 155 w 155"/>
                  <a:gd name="T43" fmla="*/ 25 h 240"/>
                  <a:gd name="T44" fmla="*/ 128 w 155"/>
                  <a:gd name="T4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5" h="240">
                    <a:moveTo>
                      <a:pt x="128" y="0"/>
                    </a:moveTo>
                    <a:cubicBezTo>
                      <a:pt x="27" y="0"/>
                      <a:pt x="27" y="0"/>
                      <a:pt x="27" y="0"/>
                    </a:cubicBezTo>
                    <a:cubicBezTo>
                      <a:pt x="12" y="0"/>
                      <a:pt x="0" y="12"/>
                      <a:pt x="0" y="25"/>
                    </a:cubicBezTo>
                    <a:cubicBezTo>
                      <a:pt x="0" y="215"/>
                      <a:pt x="0" y="215"/>
                      <a:pt x="0" y="215"/>
                    </a:cubicBezTo>
                    <a:cubicBezTo>
                      <a:pt x="0" y="228"/>
                      <a:pt x="12" y="240"/>
                      <a:pt x="27" y="240"/>
                    </a:cubicBezTo>
                    <a:cubicBezTo>
                      <a:pt x="67" y="240"/>
                      <a:pt x="67" y="240"/>
                      <a:pt x="67" y="240"/>
                    </a:cubicBezTo>
                    <a:cubicBezTo>
                      <a:pt x="70" y="240"/>
                      <a:pt x="71" y="239"/>
                      <a:pt x="71" y="236"/>
                    </a:cubicBezTo>
                    <a:cubicBezTo>
                      <a:pt x="71" y="234"/>
                      <a:pt x="70" y="232"/>
                      <a:pt x="67" y="232"/>
                    </a:cubicBezTo>
                    <a:cubicBezTo>
                      <a:pt x="27" y="232"/>
                      <a:pt x="27" y="232"/>
                      <a:pt x="27" y="232"/>
                    </a:cubicBezTo>
                    <a:cubicBezTo>
                      <a:pt x="16" y="232"/>
                      <a:pt x="8" y="225"/>
                      <a:pt x="8" y="215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8" y="15"/>
                      <a:pt x="16" y="8"/>
                      <a:pt x="27" y="8"/>
                    </a:cubicBezTo>
                    <a:cubicBezTo>
                      <a:pt x="128" y="8"/>
                      <a:pt x="128" y="8"/>
                      <a:pt x="128" y="8"/>
                    </a:cubicBezTo>
                    <a:cubicBezTo>
                      <a:pt x="139" y="8"/>
                      <a:pt x="147" y="15"/>
                      <a:pt x="147" y="25"/>
                    </a:cubicBezTo>
                    <a:cubicBezTo>
                      <a:pt x="147" y="215"/>
                      <a:pt x="147" y="215"/>
                      <a:pt x="147" y="215"/>
                    </a:cubicBezTo>
                    <a:cubicBezTo>
                      <a:pt x="147" y="225"/>
                      <a:pt x="139" y="232"/>
                      <a:pt x="128" y="232"/>
                    </a:cubicBezTo>
                    <a:cubicBezTo>
                      <a:pt x="89" y="232"/>
                      <a:pt x="89" y="232"/>
                      <a:pt x="89" y="232"/>
                    </a:cubicBezTo>
                    <a:cubicBezTo>
                      <a:pt x="87" y="232"/>
                      <a:pt x="85" y="234"/>
                      <a:pt x="85" y="236"/>
                    </a:cubicBezTo>
                    <a:cubicBezTo>
                      <a:pt x="85" y="239"/>
                      <a:pt x="87" y="240"/>
                      <a:pt x="89" y="240"/>
                    </a:cubicBezTo>
                    <a:cubicBezTo>
                      <a:pt x="128" y="240"/>
                      <a:pt x="128" y="240"/>
                      <a:pt x="128" y="240"/>
                    </a:cubicBezTo>
                    <a:cubicBezTo>
                      <a:pt x="143" y="240"/>
                      <a:pt x="155" y="228"/>
                      <a:pt x="155" y="215"/>
                    </a:cubicBezTo>
                    <a:cubicBezTo>
                      <a:pt x="155" y="25"/>
                      <a:pt x="155" y="25"/>
                      <a:pt x="155" y="25"/>
                    </a:cubicBezTo>
                    <a:cubicBezTo>
                      <a:pt x="155" y="12"/>
                      <a:pt x="143" y="0"/>
                      <a:pt x="12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/>
              </a:p>
            </p:txBody>
          </p:sp>
          <p:sp>
            <p:nvSpPr>
              <p:cNvPr id="53" name="Freeform 131"/>
              <p:cNvSpPr>
                <a:spLocks/>
              </p:cNvSpPr>
              <p:nvPr/>
            </p:nvSpPr>
            <p:spPr bwMode="auto">
              <a:xfrm>
                <a:off x="5089" y="1444"/>
                <a:ext cx="77" cy="16"/>
              </a:xfrm>
              <a:custGeom>
                <a:avLst/>
                <a:gdLst>
                  <a:gd name="T0" fmla="*/ 29 w 33"/>
                  <a:gd name="T1" fmla="*/ 7 h 7"/>
                  <a:gd name="T2" fmla="*/ 33 w 33"/>
                  <a:gd name="T3" fmla="*/ 3 h 7"/>
                  <a:gd name="T4" fmla="*/ 29 w 33"/>
                  <a:gd name="T5" fmla="*/ 0 h 7"/>
                  <a:gd name="T6" fmla="*/ 4 w 33"/>
                  <a:gd name="T7" fmla="*/ 0 h 7"/>
                  <a:gd name="T8" fmla="*/ 0 w 33"/>
                  <a:gd name="T9" fmla="*/ 3 h 7"/>
                  <a:gd name="T10" fmla="*/ 4 w 33"/>
                  <a:gd name="T11" fmla="*/ 7 h 7"/>
                  <a:gd name="T12" fmla="*/ 29 w 33"/>
                  <a:gd name="T1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7">
                    <a:moveTo>
                      <a:pt x="29" y="7"/>
                    </a:moveTo>
                    <a:cubicBezTo>
                      <a:pt x="30" y="7"/>
                      <a:pt x="33" y="6"/>
                      <a:pt x="33" y="3"/>
                    </a:cubicBezTo>
                    <a:cubicBezTo>
                      <a:pt x="33" y="2"/>
                      <a:pt x="30" y="0"/>
                      <a:pt x="2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0" y="2"/>
                      <a:pt x="0" y="3"/>
                    </a:cubicBezTo>
                    <a:cubicBezTo>
                      <a:pt x="0" y="6"/>
                      <a:pt x="3" y="7"/>
                      <a:pt x="4" y="7"/>
                    </a:cubicBezTo>
                    <a:cubicBezTo>
                      <a:pt x="29" y="7"/>
                      <a:pt x="29" y="7"/>
                      <a:pt x="29" y="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2400"/>
              </a:p>
            </p:txBody>
          </p:sp>
        </p:grpSp>
        <p:sp>
          <p:nvSpPr>
            <p:cNvPr id="45" name="Freeform 120"/>
            <p:cNvSpPr>
              <a:spLocks noEditPoints="1"/>
            </p:cNvSpPr>
            <p:nvPr/>
          </p:nvSpPr>
          <p:spPr bwMode="auto">
            <a:xfrm>
              <a:off x="6372200" y="2607754"/>
              <a:ext cx="274316" cy="398813"/>
            </a:xfrm>
            <a:custGeom>
              <a:avLst/>
              <a:gdLst>
                <a:gd name="T0" fmla="*/ 48 w 153"/>
                <a:gd name="T1" fmla="*/ 35 h 222"/>
                <a:gd name="T2" fmla="*/ 58 w 153"/>
                <a:gd name="T3" fmla="*/ 117 h 222"/>
                <a:gd name="T4" fmla="*/ 76 w 153"/>
                <a:gd name="T5" fmla="*/ 117 h 222"/>
                <a:gd name="T6" fmla="*/ 72 w 153"/>
                <a:gd name="T7" fmla="*/ 35 h 222"/>
                <a:gd name="T8" fmla="*/ 76 w 153"/>
                <a:gd name="T9" fmla="*/ 117 h 222"/>
                <a:gd name="T10" fmla="*/ 100 w 153"/>
                <a:gd name="T11" fmla="*/ 35 h 222"/>
                <a:gd name="T12" fmla="*/ 90 w 153"/>
                <a:gd name="T13" fmla="*/ 117 h 222"/>
                <a:gd name="T14" fmla="*/ 122 w 153"/>
                <a:gd name="T15" fmla="*/ 128 h 222"/>
                <a:gd name="T16" fmla="*/ 125 w 153"/>
                <a:gd name="T17" fmla="*/ 140 h 222"/>
                <a:gd name="T18" fmla="*/ 136 w 153"/>
                <a:gd name="T19" fmla="*/ 204 h 222"/>
                <a:gd name="T20" fmla="*/ 118 w 153"/>
                <a:gd name="T21" fmla="*/ 222 h 222"/>
                <a:gd name="T22" fmla="*/ 107 w 153"/>
                <a:gd name="T23" fmla="*/ 222 h 222"/>
                <a:gd name="T24" fmla="*/ 107 w 153"/>
                <a:gd name="T25" fmla="*/ 214 h 222"/>
                <a:gd name="T26" fmla="*/ 128 w 153"/>
                <a:gd name="T27" fmla="*/ 204 h 222"/>
                <a:gd name="T28" fmla="*/ 117 w 153"/>
                <a:gd name="T29" fmla="*/ 141 h 222"/>
                <a:gd name="T30" fmla="*/ 116 w 153"/>
                <a:gd name="T31" fmla="*/ 137 h 222"/>
                <a:gd name="T32" fmla="*/ 31 w 153"/>
                <a:gd name="T33" fmla="*/ 141 h 222"/>
                <a:gd name="T34" fmla="*/ 20 w 153"/>
                <a:gd name="T35" fmla="*/ 204 h 222"/>
                <a:gd name="T36" fmla="*/ 38 w 153"/>
                <a:gd name="T37" fmla="*/ 214 h 222"/>
                <a:gd name="T38" fmla="*/ 92 w 153"/>
                <a:gd name="T39" fmla="*/ 218 h 222"/>
                <a:gd name="T40" fmla="*/ 40 w 153"/>
                <a:gd name="T41" fmla="*/ 222 h 222"/>
                <a:gd name="T42" fmla="*/ 12 w 153"/>
                <a:gd name="T43" fmla="*/ 204 h 222"/>
                <a:gd name="T44" fmla="*/ 12 w 153"/>
                <a:gd name="T45" fmla="*/ 202 h 222"/>
                <a:gd name="T46" fmla="*/ 26 w 153"/>
                <a:gd name="T47" fmla="*/ 131 h 222"/>
                <a:gd name="T48" fmla="*/ 17 w 153"/>
                <a:gd name="T49" fmla="*/ 47 h 222"/>
                <a:gd name="T50" fmla="*/ 2 w 153"/>
                <a:gd name="T51" fmla="*/ 15 h 222"/>
                <a:gd name="T52" fmla="*/ 14 w 153"/>
                <a:gd name="T53" fmla="*/ 7 h 222"/>
                <a:gd name="T54" fmla="*/ 28 w 153"/>
                <a:gd name="T55" fmla="*/ 3 h 222"/>
                <a:gd name="T56" fmla="*/ 40 w 153"/>
                <a:gd name="T57" fmla="*/ 1 h 222"/>
                <a:gd name="T58" fmla="*/ 108 w 153"/>
                <a:gd name="T59" fmla="*/ 1 h 222"/>
                <a:gd name="T60" fmla="*/ 133 w 153"/>
                <a:gd name="T61" fmla="*/ 15 h 222"/>
                <a:gd name="T62" fmla="*/ 150 w 153"/>
                <a:gd name="T63" fmla="*/ 54 h 222"/>
                <a:gd name="T64" fmla="*/ 127 w 153"/>
                <a:gd name="T65" fmla="*/ 94 h 222"/>
                <a:gd name="T66" fmla="*/ 122 w 153"/>
                <a:gd name="T67" fmla="*/ 128 h 222"/>
                <a:gd name="T68" fmla="*/ 132 w 153"/>
                <a:gd name="T69" fmla="*/ 38 h 222"/>
                <a:gd name="T70" fmla="*/ 132 w 153"/>
                <a:gd name="T71" fmla="*/ 38 h 222"/>
                <a:gd name="T72" fmla="*/ 129 w 153"/>
                <a:gd name="T73" fmla="*/ 86 h 222"/>
                <a:gd name="T74" fmla="*/ 142 w 153"/>
                <a:gd name="T75" fmla="*/ 53 h 222"/>
                <a:gd name="T76" fmla="*/ 141 w 153"/>
                <a:gd name="T77" fmla="*/ 30 h 222"/>
                <a:gd name="T78" fmla="*/ 125 w 153"/>
                <a:gd name="T79" fmla="*/ 17 h 222"/>
                <a:gd name="T80" fmla="*/ 107 w 153"/>
                <a:gd name="T81" fmla="*/ 9 h 222"/>
                <a:gd name="T82" fmla="*/ 40 w 153"/>
                <a:gd name="T83" fmla="*/ 9 h 222"/>
                <a:gd name="T84" fmla="*/ 23 w 153"/>
                <a:gd name="T85" fmla="*/ 14 h 222"/>
                <a:gd name="T86" fmla="*/ 14 w 153"/>
                <a:gd name="T87" fmla="*/ 15 h 222"/>
                <a:gd name="T88" fmla="*/ 10 w 153"/>
                <a:gd name="T89" fmla="*/ 23 h 222"/>
                <a:gd name="T90" fmla="*/ 24 w 153"/>
                <a:gd name="T91" fmla="*/ 45 h 222"/>
                <a:gd name="T92" fmla="*/ 33 w 153"/>
                <a:gd name="T93" fmla="*/ 127 h 222"/>
                <a:gd name="T94" fmla="*/ 113 w 153"/>
                <a:gd name="T95" fmla="*/ 129 h 222"/>
                <a:gd name="T96" fmla="*/ 127 w 153"/>
                <a:gd name="T97" fmla="*/ 41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3" h="222">
                  <a:moveTo>
                    <a:pt x="54" y="117"/>
                  </a:moveTo>
                  <a:cubicBezTo>
                    <a:pt x="48" y="35"/>
                    <a:pt x="48" y="35"/>
                    <a:pt x="48" y="35"/>
                  </a:cubicBezTo>
                  <a:cubicBezTo>
                    <a:pt x="52" y="35"/>
                    <a:pt x="52" y="35"/>
                    <a:pt x="52" y="35"/>
                  </a:cubicBezTo>
                  <a:cubicBezTo>
                    <a:pt x="58" y="117"/>
                    <a:pt x="58" y="117"/>
                    <a:pt x="58" y="117"/>
                  </a:cubicBezTo>
                  <a:lnTo>
                    <a:pt x="54" y="117"/>
                  </a:lnTo>
                  <a:close/>
                  <a:moveTo>
                    <a:pt x="76" y="117"/>
                  </a:moveTo>
                  <a:cubicBezTo>
                    <a:pt x="76" y="35"/>
                    <a:pt x="76" y="35"/>
                    <a:pt x="76" y="35"/>
                  </a:cubicBezTo>
                  <a:cubicBezTo>
                    <a:pt x="72" y="35"/>
                    <a:pt x="72" y="35"/>
                    <a:pt x="72" y="35"/>
                  </a:cubicBezTo>
                  <a:cubicBezTo>
                    <a:pt x="72" y="117"/>
                    <a:pt x="72" y="117"/>
                    <a:pt x="72" y="117"/>
                  </a:cubicBezTo>
                  <a:lnTo>
                    <a:pt x="76" y="117"/>
                  </a:lnTo>
                  <a:close/>
                  <a:moveTo>
                    <a:pt x="94" y="117"/>
                  </a:moveTo>
                  <a:cubicBezTo>
                    <a:pt x="100" y="35"/>
                    <a:pt x="100" y="35"/>
                    <a:pt x="100" y="35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0" y="117"/>
                    <a:pt x="90" y="117"/>
                    <a:pt x="90" y="117"/>
                  </a:cubicBezTo>
                  <a:lnTo>
                    <a:pt x="94" y="117"/>
                  </a:lnTo>
                  <a:close/>
                  <a:moveTo>
                    <a:pt x="122" y="128"/>
                  </a:moveTo>
                  <a:cubicBezTo>
                    <a:pt x="122" y="129"/>
                    <a:pt x="122" y="130"/>
                    <a:pt x="121" y="130"/>
                  </a:cubicBezTo>
                  <a:cubicBezTo>
                    <a:pt x="123" y="133"/>
                    <a:pt x="125" y="136"/>
                    <a:pt x="125" y="140"/>
                  </a:cubicBezTo>
                  <a:cubicBezTo>
                    <a:pt x="136" y="202"/>
                    <a:pt x="136" y="202"/>
                    <a:pt x="136" y="202"/>
                  </a:cubicBezTo>
                  <a:cubicBezTo>
                    <a:pt x="136" y="202"/>
                    <a:pt x="136" y="203"/>
                    <a:pt x="136" y="204"/>
                  </a:cubicBezTo>
                  <a:cubicBezTo>
                    <a:pt x="136" y="214"/>
                    <a:pt x="128" y="222"/>
                    <a:pt x="118" y="222"/>
                  </a:cubicBezTo>
                  <a:cubicBezTo>
                    <a:pt x="118" y="222"/>
                    <a:pt x="118" y="222"/>
                    <a:pt x="118" y="222"/>
                  </a:cubicBezTo>
                  <a:cubicBezTo>
                    <a:pt x="117" y="222"/>
                    <a:pt x="117" y="222"/>
                    <a:pt x="117" y="222"/>
                  </a:cubicBezTo>
                  <a:cubicBezTo>
                    <a:pt x="107" y="222"/>
                    <a:pt x="107" y="222"/>
                    <a:pt x="107" y="222"/>
                  </a:cubicBezTo>
                  <a:cubicBezTo>
                    <a:pt x="105" y="222"/>
                    <a:pt x="103" y="221"/>
                    <a:pt x="103" y="218"/>
                  </a:cubicBezTo>
                  <a:cubicBezTo>
                    <a:pt x="103" y="216"/>
                    <a:pt x="105" y="214"/>
                    <a:pt x="107" y="214"/>
                  </a:cubicBezTo>
                  <a:cubicBezTo>
                    <a:pt x="117" y="214"/>
                    <a:pt x="117" y="214"/>
                    <a:pt x="117" y="214"/>
                  </a:cubicBezTo>
                  <a:cubicBezTo>
                    <a:pt x="123" y="214"/>
                    <a:pt x="128" y="210"/>
                    <a:pt x="128" y="204"/>
                  </a:cubicBezTo>
                  <a:cubicBezTo>
                    <a:pt x="128" y="204"/>
                    <a:pt x="128" y="203"/>
                    <a:pt x="128" y="203"/>
                  </a:cubicBezTo>
                  <a:cubicBezTo>
                    <a:pt x="117" y="141"/>
                    <a:pt x="117" y="141"/>
                    <a:pt x="117" y="141"/>
                  </a:cubicBezTo>
                  <a:cubicBezTo>
                    <a:pt x="117" y="141"/>
                    <a:pt x="117" y="141"/>
                    <a:pt x="117" y="141"/>
                  </a:cubicBezTo>
                  <a:cubicBezTo>
                    <a:pt x="117" y="139"/>
                    <a:pt x="117" y="138"/>
                    <a:pt x="116" y="137"/>
                  </a:cubicBezTo>
                  <a:cubicBezTo>
                    <a:pt x="32" y="137"/>
                    <a:pt x="32" y="137"/>
                    <a:pt x="32" y="137"/>
                  </a:cubicBezTo>
                  <a:cubicBezTo>
                    <a:pt x="31" y="138"/>
                    <a:pt x="31" y="139"/>
                    <a:pt x="31" y="141"/>
                  </a:cubicBezTo>
                  <a:cubicBezTo>
                    <a:pt x="20" y="203"/>
                    <a:pt x="20" y="203"/>
                    <a:pt x="20" y="203"/>
                  </a:cubicBezTo>
                  <a:cubicBezTo>
                    <a:pt x="20" y="204"/>
                    <a:pt x="20" y="204"/>
                    <a:pt x="20" y="204"/>
                  </a:cubicBezTo>
                  <a:cubicBezTo>
                    <a:pt x="20" y="210"/>
                    <a:pt x="25" y="214"/>
                    <a:pt x="30" y="214"/>
                  </a:cubicBezTo>
                  <a:cubicBezTo>
                    <a:pt x="38" y="214"/>
                    <a:pt x="38" y="214"/>
                    <a:pt x="38" y="214"/>
                  </a:cubicBezTo>
                  <a:cubicBezTo>
                    <a:pt x="88" y="214"/>
                    <a:pt x="88" y="214"/>
                    <a:pt x="88" y="214"/>
                  </a:cubicBezTo>
                  <a:cubicBezTo>
                    <a:pt x="90" y="214"/>
                    <a:pt x="92" y="216"/>
                    <a:pt x="92" y="218"/>
                  </a:cubicBezTo>
                  <a:cubicBezTo>
                    <a:pt x="92" y="221"/>
                    <a:pt x="90" y="222"/>
                    <a:pt x="88" y="222"/>
                  </a:cubicBezTo>
                  <a:cubicBezTo>
                    <a:pt x="40" y="222"/>
                    <a:pt x="40" y="222"/>
                    <a:pt x="40" y="222"/>
                  </a:cubicBezTo>
                  <a:cubicBezTo>
                    <a:pt x="30" y="222"/>
                    <a:pt x="30" y="222"/>
                    <a:pt x="30" y="222"/>
                  </a:cubicBezTo>
                  <a:cubicBezTo>
                    <a:pt x="20" y="222"/>
                    <a:pt x="12" y="214"/>
                    <a:pt x="12" y="204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23" y="137"/>
                    <a:pt x="24" y="134"/>
                    <a:pt x="26" y="131"/>
                  </a:cubicBezTo>
                  <a:cubicBezTo>
                    <a:pt x="26" y="130"/>
                    <a:pt x="26" y="129"/>
                    <a:pt x="25" y="127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0" y="25"/>
                    <a:pt x="0" y="19"/>
                    <a:pt x="2" y="15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5" y="10"/>
                    <a:pt x="9" y="7"/>
                    <a:pt x="14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20" y="6"/>
                    <a:pt x="23" y="4"/>
                    <a:pt x="28" y="3"/>
                  </a:cubicBezTo>
                  <a:cubicBezTo>
                    <a:pt x="28" y="3"/>
                    <a:pt x="28" y="2"/>
                    <a:pt x="28" y="2"/>
                  </a:cubicBezTo>
                  <a:cubicBezTo>
                    <a:pt x="30" y="2"/>
                    <a:pt x="34" y="2"/>
                    <a:pt x="40" y="1"/>
                  </a:cubicBezTo>
                  <a:cubicBezTo>
                    <a:pt x="52" y="0"/>
                    <a:pt x="63" y="0"/>
                    <a:pt x="74" y="0"/>
                  </a:cubicBezTo>
                  <a:cubicBezTo>
                    <a:pt x="84" y="0"/>
                    <a:pt x="96" y="0"/>
                    <a:pt x="108" y="1"/>
                  </a:cubicBezTo>
                  <a:cubicBezTo>
                    <a:pt x="112" y="1"/>
                    <a:pt x="116" y="2"/>
                    <a:pt x="120" y="2"/>
                  </a:cubicBezTo>
                  <a:cubicBezTo>
                    <a:pt x="130" y="5"/>
                    <a:pt x="133" y="11"/>
                    <a:pt x="133" y="15"/>
                  </a:cubicBezTo>
                  <a:cubicBezTo>
                    <a:pt x="145" y="23"/>
                    <a:pt x="145" y="23"/>
                    <a:pt x="145" y="23"/>
                  </a:cubicBezTo>
                  <a:cubicBezTo>
                    <a:pt x="147" y="24"/>
                    <a:pt x="153" y="30"/>
                    <a:pt x="150" y="54"/>
                  </a:cubicBezTo>
                  <a:cubicBezTo>
                    <a:pt x="147" y="81"/>
                    <a:pt x="136" y="92"/>
                    <a:pt x="131" y="94"/>
                  </a:cubicBezTo>
                  <a:cubicBezTo>
                    <a:pt x="130" y="94"/>
                    <a:pt x="129" y="94"/>
                    <a:pt x="127" y="94"/>
                  </a:cubicBezTo>
                  <a:cubicBezTo>
                    <a:pt x="122" y="128"/>
                    <a:pt x="122" y="128"/>
                    <a:pt x="122" y="128"/>
                  </a:cubicBezTo>
                  <a:cubicBezTo>
                    <a:pt x="122" y="128"/>
                    <a:pt x="122" y="128"/>
                    <a:pt x="122" y="128"/>
                  </a:cubicBezTo>
                  <a:close/>
                  <a:moveTo>
                    <a:pt x="127" y="41"/>
                  </a:moveTo>
                  <a:cubicBezTo>
                    <a:pt x="127" y="39"/>
                    <a:pt x="129" y="38"/>
                    <a:pt x="132" y="38"/>
                  </a:cubicBezTo>
                  <a:cubicBezTo>
                    <a:pt x="132" y="38"/>
                    <a:pt x="132" y="38"/>
                    <a:pt x="132" y="38"/>
                  </a:cubicBezTo>
                  <a:cubicBezTo>
                    <a:pt x="132" y="38"/>
                    <a:pt x="132" y="38"/>
                    <a:pt x="132" y="38"/>
                  </a:cubicBezTo>
                  <a:cubicBezTo>
                    <a:pt x="134" y="38"/>
                    <a:pt x="136" y="40"/>
                    <a:pt x="135" y="42"/>
                  </a:cubicBezTo>
                  <a:cubicBezTo>
                    <a:pt x="129" y="86"/>
                    <a:pt x="129" y="86"/>
                    <a:pt x="129" y="86"/>
                  </a:cubicBezTo>
                  <a:cubicBezTo>
                    <a:pt x="130" y="86"/>
                    <a:pt x="131" y="85"/>
                    <a:pt x="132" y="85"/>
                  </a:cubicBezTo>
                  <a:cubicBezTo>
                    <a:pt x="135" y="82"/>
                    <a:pt x="140" y="71"/>
                    <a:pt x="142" y="53"/>
                  </a:cubicBezTo>
                  <a:cubicBezTo>
                    <a:pt x="145" y="34"/>
                    <a:pt x="141" y="30"/>
                    <a:pt x="140" y="30"/>
                  </a:cubicBezTo>
                  <a:cubicBezTo>
                    <a:pt x="140" y="30"/>
                    <a:pt x="141" y="30"/>
                    <a:pt x="141" y="30"/>
                  </a:cubicBezTo>
                  <a:cubicBezTo>
                    <a:pt x="127" y="20"/>
                    <a:pt x="127" y="20"/>
                    <a:pt x="127" y="20"/>
                  </a:cubicBezTo>
                  <a:cubicBezTo>
                    <a:pt x="126" y="19"/>
                    <a:pt x="125" y="18"/>
                    <a:pt x="125" y="17"/>
                  </a:cubicBezTo>
                  <a:cubicBezTo>
                    <a:pt x="125" y="13"/>
                    <a:pt x="121" y="11"/>
                    <a:pt x="118" y="10"/>
                  </a:cubicBezTo>
                  <a:cubicBezTo>
                    <a:pt x="116" y="10"/>
                    <a:pt x="112" y="9"/>
                    <a:pt x="107" y="9"/>
                  </a:cubicBezTo>
                  <a:cubicBezTo>
                    <a:pt x="95" y="8"/>
                    <a:pt x="84" y="8"/>
                    <a:pt x="74" y="8"/>
                  </a:cubicBezTo>
                  <a:cubicBezTo>
                    <a:pt x="63" y="8"/>
                    <a:pt x="52" y="8"/>
                    <a:pt x="40" y="9"/>
                  </a:cubicBezTo>
                  <a:cubicBezTo>
                    <a:pt x="37" y="9"/>
                    <a:pt x="33" y="10"/>
                    <a:pt x="30" y="10"/>
                  </a:cubicBezTo>
                  <a:cubicBezTo>
                    <a:pt x="26" y="12"/>
                    <a:pt x="24" y="13"/>
                    <a:pt x="23" y="14"/>
                  </a:cubicBezTo>
                  <a:cubicBezTo>
                    <a:pt x="22" y="15"/>
                    <a:pt x="21" y="15"/>
                    <a:pt x="20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2" y="15"/>
                    <a:pt x="10" y="17"/>
                    <a:pt x="9" y="18"/>
                  </a:cubicBezTo>
                  <a:cubicBezTo>
                    <a:pt x="8" y="20"/>
                    <a:pt x="9" y="22"/>
                    <a:pt x="10" y="2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4"/>
                    <a:pt x="24" y="45"/>
                  </a:cubicBezTo>
                  <a:cubicBezTo>
                    <a:pt x="33" y="127"/>
                    <a:pt x="33" y="127"/>
                    <a:pt x="33" y="127"/>
                  </a:cubicBezTo>
                  <a:cubicBezTo>
                    <a:pt x="33" y="127"/>
                    <a:pt x="33" y="127"/>
                    <a:pt x="33" y="127"/>
                  </a:cubicBezTo>
                  <a:cubicBezTo>
                    <a:pt x="33" y="128"/>
                    <a:pt x="34" y="128"/>
                    <a:pt x="34" y="129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14" y="128"/>
                    <a:pt x="114" y="127"/>
                    <a:pt x="115" y="126"/>
                  </a:cubicBezTo>
                  <a:lnTo>
                    <a:pt x="127" y="4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6" name="Freeform 108"/>
            <p:cNvSpPr>
              <a:spLocks noEditPoints="1"/>
            </p:cNvSpPr>
            <p:nvPr/>
          </p:nvSpPr>
          <p:spPr bwMode="auto">
            <a:xfrm>
              <a:off x="5832140" y="2551214"/>
              <a:ext cx="432048" cy="334514"/>
            </a:xfrm>
            <a:custGeom>
              <a:avLst/>
              <a:gdLst>
                <a:gd name="T0" fmla="*/ 42 w 336"/>
                <a:gd name="T1" fmla="*/ 149 h 260"/>
                <a:gd name="T2" fmla="*/ 42 w 336"/>
                <a:gd name="T3" fmla="*/ 128 h 260"/>
                <a:gd name="T4" fmla="*/ 42 w 336"/>
                <a:gd name="T5" fmla="*/ 145 h 260"/>
                <a:gd name="T6" fmla="*/ 42 w 336"/>
                <a:gd name="T7" fmla="*/ 132 h 260"/>
                <a:gd name="T8" fmla="*/ 42 w 336"/>
                <a:gd name="T9" fmla="*/ 145 h 260"/>
                <a:gd name="T10" fmla="*/ 72 w 336"/>
                <a:gd name="T11" fmla="*/ 149 h 260"/>
                <a:gd name="T12" fmla="*/ 72 w 336"/>
                <a:gd name="T13" fmla="*/ 128 h 260"/>
                <a:gd name="T14" fmla="*/ 72 w 336"/>
                <a:gd name="T15" fmla="*/ 145 h 260"/>
                <a:gd name="T16" fmla="*/ 72 w 336"/>
                <a:gd name="T17" fmla="*/ 132 h 260"/>
                <a:gd name="T18" fmla="*/ 72 w 336"/>
                <a:gd name="T19" fmla="*/ 145 h 260"/>
                <a:gd name="T20" fmla="*/ 233 w 336"/>
                <a:gd name="T21" fmla="*/ 30 h 260"/>
                <a:gd name="T22" fmla="*/ 106 w 336"/>
                <a:gd name="T23" fmla="*/ 32 h 260"/>
                <a:gd name="T24" fmla="*/ 106 w 336"/>
                <a:gd name="T25" fmla="*/ 28 h 260"/>
                <a:gd name="T26" fmla="*/ 231 w 336"/>
                <a:gd name="T27" fmla="*/ 53 h 260"/>
                <a:gd name="T28" fmla="*/ 231 w 336"/>
                <a:gd name="T29" fmla="*/ 57 h 260"/>
                <a:gd name="T30" fmla="*/ 104 w 336"/>
                <a:gd name="T31" fmla="*/ 55 h 260"/>
                <a:gd name="T32" fmla="*/ 231 w 336"/>
                <a:gd name="T33" fmla="*/ 53 h 260"/>
                <a:gd name="T34" fmla="*/ 208 w 336"/>
                <a:gd name="T35" fmla="*/ 80 h 260"/>
                <a:gd name="T36" fmla="*/ 106 w 336"/>
                <a:gd name="T37" fmla="*/ 82 h 260"/>
                <a:gd name="T38" fmla="*/ 106 w 336"/>
                <a:gd name="T39" fmla="*/ 78 h 260"/>
                <a:gd name="T40" fmla="*/ 331 w 336"/>
                <a:gd name="T41" fmla="*/ 152 h 260"/>
                <a:gd name="T42" fmla="*/ 336 w 336"/>
                <a:gd name="T43" fmla="*/ 118 h 260"/>
                <a:gd name="T44" fmla="*/ 261 w 336"/>
                <a:gd name="T45" fmla="*/ 100 h 260"/>
                <a:gd name="T46" fmla="*/ 76 w 336"/>
                <a:gd name="T47" fmla="*/ 0 h 260"/>
                <a:gd name="T48" fmla="*/ 18 w 336"/>
                <a:gd name="T49" fmla="*/ 100 h 260"/>
                <a:gd name="T50" fmla="*/ 0 w 336"/>
                <a:gd name="T51" fmla="*/ 218 h 260"/>
                <a:gd name="T52" fmla="*/ 76 w 336"/>
                <a:gd name="T53" fmla="*/ 235 h 260"/>
                <a:gd name="T54" fmla="*/ 261 w 336"/>
                <a:gd name="T55" fmla="*/ 260 h 260"/>
                <a:gd name="T56" fmla="*/ 319 w 336"/>
                <a:gd name="T57" fmla="*/ 235 h 260"/>
                <a:gd name="T58" fmla="*/ 336 w 336"/>
                <a:gd name="T59" fmla="*/ 188 h 260"/>
                <a:gd name="T60" fmla="*/ 331 w 336"/>
                <a:gd name="T61" fmla="*/ 183 h 260"/>
                <a:gd name="T62" fmla="*/ 326 w 336"/>
                <a:gd name="T63" fmla="*/ 188 h 260"/>
                <a:gd name="T64" fmla="*/ 319 w 336"/>
                <a:gd name="T65" fmla="*/ 225 h 260"/>
                <a:gd name="T66" fmla="*/ 261 w 336"/>
                <a:gd name="T67" fmla="*/ 175 h 260"/>
                <a:gd name="T68" fmla="*/ 76 w 336"/>
                <a:gd name="T69" fmla="*/ 225 h 260"/>
                <a:gd name="T70" fmla="*/ 11 w 336"/>
                <a:gd name="T71" fmla="*/ 218 h 260"/>
                <a:gd name="T72" fmla="*/ 18 w 336"/>
                <a:gd name="T73" fmla="*/ 110 h 260"/>
                <a:gd name="T74" fmla="*/ 261 w 336"/>
                <a:gd name="T75" fmla="*/ 110 h 260"/>
                <a:gd name="T76" fmla="*/ 326 w 336"/>
                <a:gd name="T77" fmla="*/ 118 h 260"/>
                <a:gd name="T78" fmla="*/ 331 w 336"/>
                <a:gd name="T79" fmla="*/ 152 h 260"/>
                <a:gd name="T80" fmla="*/ 86 w 336"/>
                <a:gd name="T81" fmla="*/ 185 h 260"/>
                <a:gd name="T82" fmla="*/ 251 w 336"/>
                <a:gd name="T83" fmla="*/ 225 h 260"/>
                <a:gd name="T84" fmla="*/ 251 w 336"/>
                <a:gd name="T85" fmla="*/ 250 h 260"/>
                <a:gd name="T86" fmla="*/ 86 w 336"/>
                <a:gd name="T87" fmla="*/ 235 h 260"/>
                <a:gd name="T88" fmla="*/ 86 w 336"/>
                <a:gd name="T89" fmla="*/ 225 h 260"/>
                <a:gd name="T90" fmla="*/ 86 w 336"/>
                <a:gd name="T91" fmla="*/ 10 h 260"/>
                <a:gd name="T92" fmla="*/ 251 w 336"/>
                <a:gd name="T93" fmla="*/ 100 h 260"/>
                <a:gd name="T94" fmla="*/ 86 w 336"/>
                <a:gd name="T95" fmla="*/ 100 h 260"/>
                <a:gd name="T96" fmla="*/ 104 w 336"/>
                <a:gd name="T97" fmla="*/ 230 h 260"/>
                <a:gd name="T98" fmla="*/ 181 w 336"/>
                <a:gd name="T99" fmla="*/ 228 h 260"/>
                <a:gd name="T100" fmla="*/ 181 w 336"/>
                <a:gd name="T101" fmla="*/ 232 h 260"/>
                <a:gd name="T102" fmla="*/ 106 w 336"/>
                <a:gd name="T103" fmla="*/ 207 h 260"/>
                <a:gd name="T104" fmla="*/ 106 w 336"/>
                <a:gd name="T105" fmla="*/ 203 h 260"/>
                <a:gd name="T106" fmla="*/ 233 w 336"/>
                <a:gd name="T107" fmla="*/ 205 h 260"/>
                <a:gd name="T108" fmla="*/ 106 w 336"/>
                <a:gd name="T109" fmla="*/ 207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36" h="260">
                  <a:moveTo>
                    <a:pt x="32" y="139"/>
                  </a:moveTo>
                  <a:cubicBezTo>
                    <a:pt x="32" y="144"/>
                    <a:pt x="36" y="149"/>
                    <a:pt x="42" y="149"/>
                  </a:cubicBezTo>
                  <a:cubicBezTo>
                    <a:pt x="48" y="149"/>
                    <a:pt x="53" y="144"/>
                    <a:pt x="53" y="139"/>
                  </a:cubicBezTo>
                  <a:cubicBezTo>
                    <a:pt x="53" y="133"/>
                    <a:pt x="48" y="128"/>
                    <a:pt x="42" y="128"/>
                  </a:cubicBezTo>
                  <a:cubicBezTo>
                    <a:pt x="36" y="128"/>
                    <a:pt x="32" y="133"/>
                    <a:pt x="32" y="139"/>
                  </a:cubicBezTo>
                  <a:close/>
                  <a:moveTo>
                    <a:pt x="42" y="145"/>
                  </a:moveTo>
                  <a:cubicBezTo>
                    <a:pt x="38" y="145"/>
                    <a:pt x="35" y="142"/>
                    <a:pt x="35" y="139"/>
                  </a:cubicBezTo>
                  <a:cubicBezTo>
                    <a:pt x="35" y="135"/>
                    <a:pt x="38" y="132"/>
                    <a:pt x="42" y="132"/>
                  </a:cubicBezTo>
                  <a:cubicBezTo>
                    <a:pt x="46" y="132"/>
                    <a:pt x="49" y="135"/>
                    <a:pt x="49" y="139"/>
                  </a:cubicBezTo>
                  <a:cubicBezTo>
                    <a:pt x="49" y="142"/>
                    <a:pt x="46" y="145"/>
                    <a:pt x="42" y="145"/>
                  </a:cubicBezTo>
                  <a:close/>
                  <a:moveTo>
                    <a:pt x="62" y="139"/>
                  </a:moveTo>
                  <a:cubicBezTo>
                    <a:pt x="62" y="144"/>
                    <a:pt x="67" y="149"/>
                    <a:pt x="72" y="149"/>
                  </a:cubicBezTo>
                  <a:cubicBezTo>
                    <a:pt x="78" y="149"/>
                    <a:pt x="83" y="144"/>
                    <a:pt x="83" y="139"/>
                  </a:cubicBezTo>
                  <a:cubicBezTo>
                    <a:pt x="83" y="133"/>
                    <a:pt x="78" y="128"/>
                    <a:pt x="72" y="128"/>
                  </a:cubicBezTo>
                  <a:cubicBezTo>
                    <a:pt x="67" y="128"/>
                    <a:pt x="62" y="133"/>
                    <a:pt x="62" y="139"/>
                  </a:cubicBezTo>
                  <a:close/>
                  <a:moveTo>
                    <a:pt x="72" y="145"/>
                  </a:moveTo>
                  <a:cubicBezTo>
                    <a:pt x="69" y="145"/>
                    <a:pt x="66" y="142"/>
                    <a:pt x="66" y="139"/>
                  </a:cubicBezTo>
                  <a:cubicBezTo>
                    <a:pt x="66" y="135"/>
                    <a:pt x="69" y="132"/>
                    <a:pt x="72" y="132"/>
                  </a:cubicBezTo>
                  <a:cubicBezTo>
                    <a:pt x="76" y="132"/>
                    <a:pt x="79" y="135"/>
                    <a:pt x="79" y="139"/>
                  </a:cubicBezTo>
                  <a:cubicBezTo>
                    <a:pt x="79" y="142"/>
                    <a:pt x="76" y="145"/>
                    <a:pt x="72" y="145"/>
                  </a:cubicBezTo>
                  <a:close/>
                  <a:moveTo>
                    <a:pt x="231" y="28"/>
                  </a:moveTo>
                  <a:cubicBezTo>
                    <a:pt x="232" y="28"/>
                    <a:pt x="233" y="29"/>
                    <a:pt x="233" y="30"/>
                  </a:cubicBezTo>
                  <a:cubicBezTo>
                    <a:pt x="233" y="31"/>
                    <a:pt x="232" y="32"/>
                    <a:pt x="231" y="32"/>
                  </a:cubicBezTo>
                  <a:cubicBezTo>
                    <a:pt x="231" y="32"/>
                    <a:pt x="231" y="32"/>
                    <a:pt x="106" y="32"/>
                  </a:cubicBezTo>
                  <a:cubicBezTo>
                    <a:pt x="105" y="32"/>
                    <a:pt x="104" y="31"/>
                    <a:pt x="104" y="30"/>
                  </a:cubicBezTo>
                  <a:cubicBezTo>
                    <a:pt x="104" y="29"/>
                    <a:pt x="105" y="28"/>
                    <a:pt x="106" y="28"/>
                  </a:cubicBezTo>
                  <a:cubicBezTo>
                    <a:pt x="106" y="28"/>
                    <a:pt x="106" y="28"/>
                    <a:pt x="231" y="28"/>
                  </a:cubicBezTo>
                  <a:close/>
                  <a:moveTo>
                    <a:pt x="231" y="53"/>
                  </a:moveTo>
                  <a:cubicBezTo>
                    <a:pt x="232" y="53"/>
                    <a:pt x="233" y="54"/>
                    <a:pt x="233" y="55"/>
                  </a:cubicBezTo>
                  <a:cubicBezTo>
                    <a:pt x="233" y="56"/>
                    <a:pt x="232" y="57"/>
                    <a:pt x="231" y="57"/>
                  </a:cubicBezTo>
                  <a:cubicBezTo>
                    <a:pt x="231" y="57"/>
                    <a:pt x="231" y="57"/>
                    <a:pt x="106" y="57"/>
                  </a:cubicBezTo>
                  <a:cubicBezTo>
                    <a:pt x="105" y="57"/>
                    <a:pt x="104" y="56"/>
                    <a:pt x="104" y="55"/>
                  </a:cubicBezTo>
                  <a:cubicBezTo>
                    <a:pt x="104" y="54"/>
                    <a:pt x="105" y="53"/>
                    <a:pt x="106" y="53"/>
                  </a:cubicBezTo>
                  <a:cubicBezTo>
                    <a:pt x="106" y="53"/>
                    <a:pt x="106" y="53"/>
                    <a:pt x="231" y="53"/>
                  </a:cubicBezTo>
                  <a:close/>
                  <a:moveTo>
                    <a:pt x="206" y="78"/>
                  </a:moveTo>
                  <a:cubicBezTo>
                    <a:pt x="207" y="78"/>
                    <a:pt x="208" y="79"/>
                    <a:pt x="208" y="80"/>
                  </a:cubicBezTo>
                  <a:cubicBezTo>
                    <a:pt x="208" y="81"/>
                    <a:pt x="207" y="82"/>
                    <a:pt x="206" y="82"/>
                  </a:cubicBezTo>
                  <a:cubicBezTo>
                    <a:pt x="206" y="82"/>
                    <a:pt x="206" y="82"/>
                    <a:pt x="106" y="82"/>
                  </a:cubicBezTo>
                  <a:cubicBezTo>
                    <a:pt x="105" y="82"/>
                    <a:pt x="104" y="81"/>
                    <a:pt x="104" y="80"/>
                  </a:cubicBezTo>
                  <a:cubicBezTo>
                    <a:pt x="104" y="79"/>
                    <a:pt x="105" y="78"/>
                    <a:pt x="106" y="78"/>
                  </a:cubicBezTo>
                  <a:cubicBezTo>
                    <a:pt x="106" y="78"/>
                    <a:pt x="106" y="78"/>
                    <a:pt x="206" y="78"/>
                  </a:cubicBezTo>
                  <a:close/>
                  <a:moveTo>
                    <a:pt x="331" y="152"/>
                  </a:moveTo>
                  <a:cubicBezTo>
                    <a:pt x="334" y="152"/>
                    <a:pt x="336" y="150"/>
                    <a:pt x="336" y="147"/>
                  </a:cubicBezTo>
                  <a:cubicBezTo>
                    <a:pt x="336" y="118"/>
                    <a:pt x="336" y="118"/>
                    <a:pt x="336" y="118"/>
                  </a:cubicBezTo>
                  <a:cubicBezTo>
                    <a:pt x="336" y="108"/>
                    <a:pt x="329" y="100"/>
                    <a:pt x="319" y="100"/>
                  </a:cubicBezTo>
                  <a:cubicBezTo>
                    <a:pt x="261" y="100"/>
                    <a:pt x="261" y="100"/>
                    <a:pt x="261" y="100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18" y="100"/>
                    <a:pt x="18" y="100"/>
                    <a:pt x="18" y="100"/>
                  </a:cubicBezTo>
                  <a:cubicBezTo>
                    <a:pt x="8" y="100"/>
                    <a:pt x="0" y="108"/>
                    <a:pt x="0" y="118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27"/>
                    <a:pt x="8" y="235"/>
                    <a:pt x="18" y="235"/>
                  </a:cubicBezTo>
                  <a:cubicBezTo>
                    <a:pt x="76" y="235"/>
                    <a:pt x="76" y="235"/>
                    <a:pt x="76" y="235"/>
                  </a:cubicBezTo>
                  <a:cubicBezTo>
                    <a:pt x="76" y="260"/>
                    <a:pt x="76" y="260"/>
                    <a:pt x="76" y="260"/>
                  </a:cubicBezTo>
                  <a:cubicBezTo>
                    <a:pt x="261" y="260"/>
                    <a:pt x="261" y="260"/>
                    <a:pt x="261" y="260"/>
                  </a:cubicBezTo>
                  <a:cubicBezTo>
                    <a:pt x="261" y="235"/>
                    <a:pt x="261" y="235"/>
                    <a:pt x="261" y="235"/>
                  </a:cubicBezTo>
                  <a:cubicBezTo>
                    <a:pt x="319" y="235"/>
                    <a:pt x="319" y="235"/>
                    <a:pt x="319" y="235"/>
                  </a:cubicBezTo>
                  <a:cubicBezTo>
                    <a:pt x="329" y="235"/>
                    <a:pt x="336" y="227"/>
                    <a:pt x="336" y="218"/>
                  </a:cubicBezTo>
                  <a:cubicBezTo>
                    <a:pt x="336" y="188"/>
                    <a:pt x="336" y="188"/>
                    <a:pt x="336" y="188"/>
                  </a:cubicBezTo>
                  <a:cubicBezTo>
                    <a:pt x="336" y="188"/>
                    <a:pt x="336" y="188"/>
                    <a:pt x="336" y="188"/>
                  </a:cubicBezTo>
                  <a:cubicBezTo>
                    <a:pt x="336" y="186"/>
                    <a:pt x="334" y="183"/>
                    <a:pt x="331" y="183"/>
                  </a:cubicBezTo>
                  <a:cubicBezTo>
                    <a:pt x="328" y="183"/>
                    <a:pt x="326" y="186"/>
                    <a:pt x="326" y="188"/>
                  </a:cubicBezTo>
                  <a:cubicBezTo>
                    <a:pt x="326" y="188"/>
                    <a:pt x="326" y="188"/>
                    <a:pt x="326" y="188"/>
                  </a:cubicBezTo>
                  <a:cubicBezTo>
                    <a:pt x="326" y="218"/>
                    <a:pt x="326" y="218"/>
                    <a:pt x="326" y="218"/>
                  </a:cubicBezTo>
                  <a:cubicBezTo>
                    <a:pt x="326" y="222"/>
                    <a:pt x="323" y="225"/>
                    <a:pt x="319" y="225"/>
                  </a:cubicBezTo>
                  <a:cubicBezTo>
                    <a:pt x="261" y="225"/>
                    <a:pt x="261" y="225"/>
                    <a:pt x="261" y="225"/>
                  </a:cubicBezTo>
                  <a:cubicBezTo>
                    <a:pt x="261" y="175"/>
                    <a:pt x="261" y="175"/>
                    <a:pt x="261" y="175"/>
                  </a:cubicBezTo>
                  <a:cubicBezTo>
                    <a:pt x="76" y="175"/>
                    <a:pt x="76" y="175"/>
                    <a:pt x="76" y="175"/>
                  </a:cubicBezTo>
                  <a:cubicBezTo>
                    <a:pt x="76" y="225"/>
                    <a:pt x="76" y="225"/>
                    <a:pt x="76" y="225"/>
                  </a:cubicBezTo>
                  <a:cubicBezTo>
                    <a:pt x="18" y="225"/>
                    <a:pt x="18" y="225"/>
                    <a:pt x="18" y="225"/>
                  </a:cubicBezTo>
                  <a:cubicBezTo>
                    <a:pt x="14" y="225"/>
                    <a:pt x="11" y="222"/>
                    <a:pt x="11" y="218"/>
                  </a:cubicBezTo>
                  <a:cubicBezTo>
                    <a:pt x="11" y="118"/>
                    <a:pt x="11" y="118"/>
                    <a:pt x="11" y="118"/>
                  </a:cubicBezTo>
                  <a:cubicBezTo>
                    <a:pt x="11" y="113"/>
                    <a:pt x="14" y="110"/>
                    <a:pt x="18" y="110"/>
                  </a:cubicBezTo>
                  <a:cubicBezTo>
                    <a:pt x="76" y="110"/>
                    <a:pt x="76" y="110"/>
                    <a:pt x="76" y="110"/>
                  </a:cubicBezTo>
                  <a:cubicBezTo>
                    <a:pt x="261" y="110"/>
                    <a:pt x="261" y="110"/>
                    <a:pt x="261" y="110"/>
                  </a:cubicBezTo>
                  <a:cubicBezTo>
                    <a:pt x="319" y="110"/>
                    <a:pt x="319" y="110"/>
                    <a:pt x="319" y="110"/>
                  </a:cubicBezTo>
                  <a:cubicBezTo>
                    <a:pt x="323" y="110"/>
                    <a:pt x="326" y="113"/>
                    <a:pt x="326" y="118"/>
                  </a:cubicBezTo>
                  <a:cubicBezTo>
                    <a:pt x="326" y="147"/>
                    <a:pt x="326" y="147"/>
                    <a:pt x="326" y="147"/>
                  </a:cubicBezTo>
                  <a:cubicBezTo>
                    <a:pt x="326" y="150"/>
                    <a:pt x="328" y="152"/>
                    <a:pt x="331" y="152"/>
                  </a:cubicBezTo>
                  <a:close/>
                  <a:moveTo>
                    <a:pt x="86" y="225"/>
                  </a:moveTo>
                  <a:cubicBezTo>
                    <a:pt x="86" y="185"/>
                    <a:pt x="86" y="185"/>
                    <a:pt x="86" y="185"/>
                  </a:cubicBezTo>
                  <a:cubicBezTo>
                    <a:pt x="251" y="185"/>
                    <a:pt x="251" y="185"/>
                    <a:pt x="251" y="185"/>
                  </a:cubicBezTo>
                  <a:cubicBezTo>
                    <a:pt x="251" y="225"/>
                    <a:pt x="251" y="225"/>
                    <a:pt x="251" y="225"/>
                  </a:cubicBezTo>
                  <a:cubicBezTo>
                    <a:pt x="251" y="235"/>
                    <a:pt x="251" y="235"/>
                    <a:pt x="251" y="235"/>
                  </a:cubicBezTo>
                  <a:cubicBezTo>
                    <a:pt x="251" y="250"/>
                    <a:pt x="251" y="250"/>
                    <a:pt x="251" y="250"/>
                  </a:cubicBezTo>
                  <a:cubicBezTo>
                    <a:pt x="86" y="250"/>
                    <a:pt x="86" y="250"/>
                    <a:pt x="86" y="250"/>
                  </a:cubicBezTo>
                  <a:cubicBezTo>
                    <a:pt x="86" y="235"/>
                    <a:pt x="86" y="235"/>
                    <a:pt x="86" y="235"/>
                  </a:cubicBezTo>
                  <a:cubicBezTo>
                    <a:pt x="86" y="225"/>
                    <a:pt x="86" y="225"/>
                    <a:pt x="86" y="225"/>
                  </a:cubicBezTo>
                  <a:cubicBezTo>
                    <a:pt x="86" y="225"/>
                    <a:pt x="86" y="225"/>
                    <a:pt x="86" y="225"/>
                  </a:cubicBezTo>
                  <a:close/>
                  <a:moveTo>
                    <a:pt x="86" y="100"/>
                  </a:moveTo>
                  <a:cubicBezTo>
                    <a:pt x="86" y="10"/>
                    <a:pt x="86" y="10"/>
                    <a:pt x="86" y="10"/>
                  </a:cubicBezTo>
                  <a:cubicBezTo>
                    <a:pt x="251" y="10"/>
                    <a:pt x="251" y="10"/>
                    <a:pt x="251" y="10"/>
                  </a:cubicBezTo>
                  <a:cubicBezTo>
                    <a:pt x="251" y="100"/>
                    <a:pt x="251" y="100"/>
                    <a:pt x="251" y="100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86" y="100"/>
                    <a:pt x="86" y="100"/>
                    <a:pt x="86" y="100"/>
                  </a:cubicBezTo>
                  <a:close/>
                  <a:moveTo>
                    <a:pt x="106" y="232"/>
                  </a:moveTo>
                  <a:cubicBezTo>
                    <a:pt x="105" y="232"/>
                    <a:pt x="104" y="231"/>
                    <a:pt x="104" y="230"/>
                  </a:cubicBezTo>
                  <a:cubicBezTo>
                    <a:pt x="104" y="229"/>
                    <a:pt x="105" y="228"/>
                    <a:pt x="106" y="228"/>
                  </a:cubicBezTo>
                  <a:cubicBezTo>
                    <a:pt x="106" y="228"/>
                    <a:pt x="106" y="228"/>
                    <a:pt x="181" y="228"/>
                  </a:cubicBezTo>
                  <a:cubicBezTo>
                    <a:pt x="182" y="228"/>
                    <a:pt x="183" y="229"/>
                    <a:pt x="183" y="230"/>
                  </a:cubicBezTo>
                  <a:cubicBezTo>
                    <a:pt x="183" y="231"/>
                    <a:pt x="182" y="232"/>
                    <a:pt x="181" y="232"/>
                  </a:cubicBezTo>
                  <a:cubicBezTo>
                    <a:pt x="181" y="232"/>
                    <a:pt x="181" y="232"/>
                    <a:pt x="106" y="232"/>
                  </a:cubicBezTo>
                  <a:close/>
                  <a:moveTo>
                    <a:pt x="106" y="207"/>
                  </a:moveTo>
                  <a:cubicBezTo>
                    <a:pt x="105" y="207"/>
                    <a:pt x="104" y="206"/>
                    <a:pt x="104" y="205"/>
                  </a:cubicBezTo>
                  <a:cubicBezTo>
                    <a:pt x="104" y="204"/>
                    <a:pt x="105" y="203"/>
                    <a:pt x="106" y="203"/>
                  </a:cubicBezTo>
                  <a:cubicBezTo>
                    <a:pt x="106" y="203"/>
                    <a:pt x="106" y="203"/>
                    <a:pt x="231" y="203"/>
                  </a:cubicBezTo>
                  <a:cubicBezTo>
                    <a:pt x="232" y="203"/>
                    <a:pt x="233" y="204"/>
                    <a:pt x="233" y="205"/>
                  </a:cubicBezTo>
                  <a:cubicBezTo>
                    <a:pt x="233" y="206"/>
                    <a:pt x="232" y="207"/>
                    <a:pt x="231" y="207"/>
                  </a:cubicBezTo>
                  <a:cubicBezTo>
                    <a:pt x="231" y="207"/>
                    <a:pt x="231" y="207"/>
                    <a:pt x="106" y="2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7" name="Freeform 136"/>
            <p:cNvSpPr>
              <a:spLocks noEditPoints="1"/>
            </p:cNvSpPr>
            <p:nvPr/>
          </p:nvSpPr>
          <p:spPr bwMode="auto">
            <a:xfrm>
              <a:off x="6696236" y="2391730"/>
              <a:ext cx="427138" cy="351184"/>
            </a:xfrm>
            <a:custGeom>
              <a:avLst/>
              <a:gdLst>
                <a:gd name="T0" fmla="*/ 128 w 221"/>
                <a:gd name="T1" fmla="*/ 160 h 182"/>
                <a:gd name="T2" fmla="*/ 134 w 221"/>
                <a:gd name="T3" fmla="*/ 165 h 182"/>
                <a:gd name="T4" fmla="*/ 128 w 221"/>
                <a:gd name="T5" fmla="*/ 170 h 182"/>
                <a:gd name="T6" fmla="*/ 90 w 221"/>
                <a:gd name="T7" fmla="*/ 170 h 182"/>
                <a:gd name="T8" fmla="*/ 85 w 221"/>
                <a:gd name="T9" fmla="*/ 165 h 182"/>
                <a:gd name="T10" fmla="*/ 90 w 221"/>
                <a:gd name="T11" fmla="*/ 160 h 182"/>
                <a:gd name="T12" fmla="*/ 128 w 221"/>
                <a:gd name="T13" fmla="*/ 160 h 182"/>
                <a:gd name="T14" fmla="*/ 207 w 221"/>
                <a:gd name="T15" fmla="*/ 182 h 182"/>
                <a:gd name="T16" fmla="*/ 221 w 221"/>
                <a:gd name="T17" fmla="*/ 169 h 182"/>
                <a:gd name="T18" fmla="*/ 221 w 221"/>
                <a:gd name="T19" fmla="*/ 146 h 182"/>
                <a:gd name="T20" fmla="*/ 0 w 221"/>
                <a:gd name="T21" fmla="*/ 146 h 182"/>
                <a:gd name="T22" fmla="*/ 0 w 221"/>
                <a:gd name="T23" fmla="*/ 169 h 182"/>
                <a:gd name="T24" fmla="*/ 13 w 221"/>
                <a:gd name="T25" fmla="*/ 182 h 182"/>
                <a:gd name="T26" fmla="*/ 207 w 221"/>
                <a:gd name="T27" fmla="*/ 182 h 182"/>
                <a:gd name="T28" fmla="*/ 214 w 221"/>
                <a:gd name="T29" fmla="*/ 153 h 182"/>
                <a:gd name="T30" fmla="*/ 214 w 221"/>
                <a:gd name="T31" fmla="*/ 169 h 182"/>
                <a:gd name="T32" fmla="*/ 207 w 221"/>
                <a:gd name="T33" fmla="*/ 175 h 182"/>
                <a:gd name="T34" fmla="*/ 13 w 221"/>
                <a:gd name="T35" fmla="*/ 175 h 182"/>
                <a:gd name="T36" fmla="*/ 7 w 221"/>
                <a:gd name="T37" fmla="*/ 169 h 182"/>
                <a:gd name="T38" fmla="*/ 7 w 221"/>
                <a:gd name="T39" fmla="*/ 153 h 182"/>
                <a:gd name="T40" fmla="*/ 214 w 221"/>
                <a:gd name="T41" fmla="*/ 153 h 182"/>
                <a:gd name="T42" fmla="*/ 214 w 221"/>
                <a:gd name="T43" fmla="*/ 153 h 182"/>
                <a:gd name="T44" fmla="*/ 208 w 221"/>
                <a:gd name="T45" fmla="*/ 143 h 182"/>
                <a:gd name="T46" fmla="*/ 211 w 221"/>
                <a:gd name="T47" fmla="*/ 139 h 182"/>
                <a:gd name="T48" fmla="*/ 211 w 221"/>
                <a:gd name="T49" fmla="*/ 11 h 182"/>
                <a:gd name="T50" fmla="*/ 208 w 221"/>
                <a:gd name="T51" fmla="*/ 9 h 182"/>
                <a:gd name="T52" fmla="*/ 204 w 221"/>
                <a:gd name="T53" fmla="*/ 11 h 182"/>
                <a:gd name="T54" fmla="*/ 204 w 221"/>
                <a:gd name="T55" fmla="*/ 136 h 182"/>
                <a:gd name="T56" fmla="*/ 17 w 221"/>
                <a:gd name="T57" fmla="*/ 136 h 182"/>
                <a:gd name="T58" fmla="*/ 17 w 221"/>
                <a:gd name="T59" fmla="*/ 6 h 182"/>
                <a:gd name="T60" fmla="*/ 198 w 221"/>
                <a:gd name="T61" fmla="*/ 6 h 182"/>
                <a:gd name="T62" fmla="*/ 202 w 221"/>
                <a:gd name="T63" fmla="*/ 3 h 182"/>
                <a:gd name="T64" fmla="*/ 198 w 221"/>
                <a:gd name="T65" fmla="*/ 0 h 182"/>
                <a:gd name="T66" fmla="*/ 13 w 221"/>
                <a:gd name="T67" fmla="*/ 0 h 182"/>
                <a:gd name="T68" fmla="*/ 10 w 221"/>
                <a:gd name="T69" fmla="*/ 3 h 182"/>
                <a:gd name="T70" fmla="*/ 10 w 221"/>
                <a:gd name="T71" fmla="*/ 139 h 182"/>
                <a:gd name="T72" fmla="*/ 13 w 221"/>
                <a:gd name="T73" fmla="*/ 143 h 182"/>
                <a:gd name="T74" fmla="*/ 208 w 221"/>
                <a:gd name="T75" fmla="*/ 143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1" h="182">
                  <a:moveTo>
                    <a:pt x="128" y="160"/>
                  </a:moveTo>
                  <a:cubicBezTo>
                    <a:pt x="131" y="160"/>
                    <a:pt x="134" y="162"/>
                    <a:pt x="134" y="165"/>
                  </a:cubicBezTo>
                  <a:cubicBezTo>
                    <a:pt x="134" y="168"/>
                    <a:pt x="131" y="170"/>
                    <a:pt x="128" y="170"/>
                  </a:cubicBezTo>
                  <a:cubicBezTo>
                    <a:pt x="90" y="170"/>
                    <a:pt x="90" y="170"/>
                    <a:pt x="90" y="170"/>
                  </a:cubicBezTo>
                  <a:cubicBezTo>
                    <a:pt x="87" y="170"/>
                    <a:pt x="85" y="168"/>
                    <a:pt x="85" y="165"/>
                  </a:cubicBezTo>
                  <a:cubicBezTo>
                    <a:pt x="85" y="162"/>
                    <a:pt x="87" y="160"/>
                    <a:pt x="90" y="160"/>
                  </a:cubicBezTo>
                  <a:cubicBezTo>
                    <a:pt x="128" y="160"/>
                    <a:pt x="128" y="160"/>
                    <a:pt x="128" y="160"/>
                  </a:cubicBezTo>
                  <a:moveTo>
                    <a:pt x="207" y="182"/>
                  </a:moveTo>
                  <a:cubicBezTo>
                    <a:pt x="215" y="182"/>
                    <a:pt x="221" y="176"/>
                    <a:pt x="221" y="169"/>
                  </a:cubicBezTo>
                  <a:cubicBezTo>
                    <a:pt x="221" y="146"/>
                    <a:pt x="221" y="146"/>
                    <a:pt x="221" y="146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176"/>
                    <a:pt x="5" y="182"/>
                    <a:pt x="13" y="182"/>
                  </a:cubicBezTo>
                  <a:cubicBezTo>
                    <a:pt x="207" y="182"/>
                    <a:pt x="207" y="182"/>
                    <a:pt x="207" y="182"/>
                  </a:cubicBezTo>
                  <a:moveTo>
                    <a:pt x="214" y="153"/>
                  </a:moveTo>
                  <a:cubicBezTo>
                    <a:pt x="214" y="169"/>
                    <a:pt x="214" y="169"/>
                    <a:pt x="214" y="169"/>
                  </a:cubicBezTo>
                  <a:cubicBezTo>
                    <a:pt x="214" y="172"/>
                    <a:pt x="211" y="175"/>
                    <a:pt x="207" y="175"/>
                  </a:cubicBezTo>
                  <a:cubicBezTo>
                    <a:pt x="13" y="175"/>
                    <a:pt x="13" y="175"/>
                    <a:pt x="13" y="175"/>
                  </a:cubicBezTo>
                  <a:cubicBezTo>
                    <a:pt x="10" y="175"/>
                    <a:pt x="7" y="172"/>
                    <a:pt x="7" y="169"/>
                  </a:cubicBezTo>
                  <a:cubicBezTo>
                    <a:pt x="7" y="153"/>
                    <a:pt x="7" y="153"/>
                    <a:pt x="7" y="153"/>
                  </a:cubicBezTo>
                  <a:cubicBezTo>
                    <a:pt x="214" y="153"/>
                    <a:pt x="214" y="153"/>
                    <a:pt x="214" y="153"/>
                  </a:cubicBezTo>
                  <a:cubicBezTo>
                    <a:pt x="214" y="153"/>
                    <a:pt x="214" y="153"/>
                    <a:pt x="214" y="153"/>
                  </a:cubicBezTo>
                  <a:close/>
                  <a:moveTo>
                    <a:pt x="208" y="143"/>
                  </a:moveTo>
                  <a:cubicBezTo>
                    <a:pt x="210" y="143"/>
                    <a:pt x="211" y="142"/>
                    <a:pt x="211" y="139"/>
                  </a:cubicBezTo>
                  <a:cubicBezTo>
                    <a:pt x="211" y="11"/>
                    <a:pt x="211" y="11"/>
                    <a:pt x="211" y="11"/>
                  </a:cubicBezTo>
                  <a:cubicBezTo>
                    <a:pt x="211" y="10"/>
                    <a:pt x="210" y="9"/>
                    <a:pt x="208" y="9"/>
                  </a:cubicBezTo>
                  <a:cubicBezTo>
                    <a:pt x="205" y="9"/>
                    <a:pt x="204" y="10"/>
                    <a:pt x="204" y="11"/>
                  </a:cubicBezTo>
                  <a:cubicBezTo>
                    <a:pt x="204" y="136"/>
                    <a:pt x="204" y="136"/>
                    <a:pt x="204" y="136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98" y="6"/>
                    <a:pt x="198" y="6"/>
                    <a:pt x="198" y="6"/>
                  </a:cubicBezTo>
                  <a:cubicBezTo>
                    <a:pt x="201" y="6"/>
                    <a:pt x="202" y="4"/>
                    <a:pt x="202" y="3"/>
                  </a:cubicBezTo>
                  <a:cubicBezTo>
                    <a:pt x="202" y="1"/>
                    <a:pt x="201" y="0"/>
                    <a:pt x="198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1" y="0"/>
                    <a:pt x="10" y="1"/>
                    <a:pt x="10" y="3"/>
                  </a:cubicBezTo>
                  <a:cubicBezTo>
                    <a:pt x="10" y="139"/>
                    <a:pt x="10" y="139"/>
                    <a:pt x="10" y="139"/>
                  </a:cubicBezTo>
                  <a:cubicBezTo>
                    <a:pt x="10" y="142"/>
                    <a:pt x="11" y="143"/>
                    <a:pt x="13" y="143"/>
                  </a:cubicBezTo>
                  <a:cubicBezTo>
                    <a:pt x="208" y="143"/>
                    <a:pt x="208" y="143"/>
                    <a:pt x="208" y="143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8" name="Freeform 100"/>
            <p:cNvSpPr>
              <a:spLocks noEditPoints="1"/>
            </p:cNvSpPr>
            <p:nvPr/>
          </p:nvSpPr>
          <p:spPr bwMode="auto">
            <a:xfrm>
              <a:off x="5760132" y="3425788"/>
              <a:ext cx="270149" cy="290782"/>
            </a:xfrm>
            <a:custGeom>
              <a:avLst/>
              <a:gdLst>
                <a:gd name="T0" fmla="*/ 238 w 238"/>
                <a:gd name="T1" fmla="*/ 233 h 256"/>
                <a:gd name="T2" fmla="*/ 23 w 238"/>
                <a:gd name="T3" fmla="*/ 256 h 256"/>
                <a:gd name="T4" fmla="*/ 0 w 238"/>
                <a:gd name="T5" fmla="*/ 112 h 256"/>
                <a:gd name="T6" fmla="*/ 38 w 238"/>
                <a:gd name="T7" fmla="*/ 88 h 256"/>
                <a:gd name="T8" fmla="*/ 160 w 238"/>
                <a:gd name="T9" fmla="*/ 22 h 256"/>
                <a:gd name="T10" fmla="*/ 166 w 238"/>
                <a:gd name="T11" fmla="*/ 32 h 256"/>
                <a:gd name="T12" fmla="*/ 215 w 238"/>
                <a:gd name="T13" fmla="*/ 88 h 256"/>
                <a:gd name="T14" fmla="*/ 226 w 238"/>
                <a:gd name="T15" fmla="*/ 112 h 256"/>
                <a:gd name="T16" fmla="*/ 23 w 238"/>
                <a:gd name="T17" fmla="*/ 101 h 256"/>
                <a:gd name="T18" fmla="*/ 12 w 238"/>
                <a:gd name="T19" fmla="*/ 233 h 256"/>
                <a:gd name="T20" fmla="*/ 215 w 238"/>
                <a:gd name="T21" fmla="*/ 244 h 256"/>
                <a:gd name="T22" fmla="*/ 226 w 238"/>
                <a:gd name="T23" fmla="*/ 112 h 256"/>
                <a:gd name="T24" fmla="*/ 21 w 238"/>
                <a:gd name="T25" fmla="*/ 108 h 256"/>
                <a:gd name="T26" fmla="*/ 218 w 238"/>
                <a:gd name="T27" fmla="*/ 132 h 256"/>
                <a:gd name="T28" fmla="*/ 21 w 238"/>
                <a:gd name="T29" fmla="*/ 108 h 256"/>
                <a:gd name="T30" fmla="*/ 79 w 238"/>
                <a:gd name="T31" fmla="*/ 126 h 256"/>
                <a:gd name="T32" fmla="*/ 211 w 238"/>
                <a:gd name="T33" fmla="*/ 114 h 256"/>
                <a:gd name="T34" fmla="*/ 79 w 238"/>
                <a:gd name="T35" fmla="*/ 126 h 256"/>
                <a:gd name="T36" fmla="*/ 27 w 238"/>
                <a:gd name="T37" fmla="*/ 126 h 256"/>
                <a:gd name="T38" fmla="*/ 72 w 238"/>
                <a:gd name="T39" fmla="*/ 114 h 256"/>
                <a:gd name="T40" fmla="*/ 27 w 238"/>
                <a:gd name="T41" fmla="*/ 126 h 256"/>
                <a:gd name="T42" fmla="*/ 97 w 238"/>
                <a:gd name="T43" fmla="*/ 199 h 256"/>
                <a:gd name="T44" fmla="*/ 21 w 238"/>
                <a:gd name="T45" fmla="*/ 199 h 256"/>
                <a:gd name="T46" fmla="*/ 97 w 238"/>
                <a:gd name="T47" fmla="*/ 199 h 256"/>
                <a:gd name="T48" fmla="*/ 59 w 238"/>
                <a:gd name="T49" fmla="*/ 168 h 256"/>
                <a:gd name="T50" fmla="*/ 59 w 238"/>
                <a:gd name="T51" fmla="*/ 231 h 256"/>
                <a:gd name="T52" fmla="*/ 110 w 238"/>
                <a:gd name="T53" fmla="*/ 184 h 256"/>
                <a:gd name="T54" fmla="*/ 215 w 238"/>
                <a:gd name="T55" fmla="*/ 177 h 256"/>
                <a:gd name="T56" fmla="*/ 110 w 238"/>
                <a:gd name="T57" fmla="*/ 184 h 256"/>
                <a:gd name="T58" fmla="*/ 110 w 238"/>
                <a:gd name="T59" fmla="*/ 200 h 256"/>
                <a:gd name="T60" fmla="*/ 215 w 238"/>
                <a:gd name="T61" fmla="*/ 195 h 256"/>
                <a:gd name="T62" fmla="*/ 110 w 238"/>
                <a:gd name="T63" fmla="*/ 200 h 256"/>
                <a:gd name="T64" fmla="*/ 110 w 238"/>
                <a:gd name="T65" fmla="*/ 218 h 256"/>
                <a:gd name="T66" fmla="*/ 215 w 238"/>
                <a:gd name="T67" fmla="*/ 213 h 256"/>
                <a:gd name="T68" fmla="*/ 110 w 238"/>
                <a:gd name="T69" fmla="*/ 218 h 256"/>
                <a:gd name="T70" fmla="*/ 180 w 238"/>
                <a:gd name="T71" fmla="*/ 23 h 256"/>
                <a:gd name="T72" fmla="*/ 200 w 238"/>
                <a:gd name="T73" fmla="*/ 13 h 256"/>
                <a:gd name="T74" fmla="*/ 195 w 238"/>
                <a:gd name="T75" fmla="*/ 2 h 256"/>
                <a:gd name="T76" fmla="*/ 175 w 238"/>
                <a:gd name="T77" fmla="*/ 2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8" h="256">
                  <a:moveTo>
                    <a:pt x="238" y="112"/>
                  </a:moveTo>
                  <a:cubicBezTo>
                    <a:pt x="238" y="233"/>
                    <a:pt x="238" y="233"/>
                    <a:pt x="238" y="233"/>
                  </a:cubicBezTo>
                  <a:cubicBezTo>
                    <a:pt x="238" y="245"/>
                    <a:pt x="227" y="256"/>
                    <a:pt x="215" y="256"/>
                  </a:cubicBezTo>
                  <a:cubicBezTo>
                    <a:pt x="23" y="256"/>
                    <a:pt x="23" y="256"/>
                    <a:pt x="23" y="256"/>
                  </a:cubicBezTo>
                  <a:cubicBezTo>
                    <a:pt x="10" y="256"/>
                    <a:pt x="0" y="245"/>
                    <a:pt x="0" y="23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99"/>
                    <a:pt x="10" y="88"/>
                    <a:pt x="23" y="88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162" y="20"/>
                    <a:pt x="166" y="20"/>
                    <a:pt x="168" y="23"/>
                  </a:cubicBezTo>
                  <a:cubicBezTo>
                    <a:pt x="170" y="27"/>
                    <a:pt x="170" y="31"/>
                    <a:pt x="166" y="32"/>
                  </a:cubicBezTo>
                  <a:cubicBezTo>
                    <a:pt x="63" y="88"/>
                    <a:pt x="63" y="88"/>
                    <a:pt x="63" y="88"/>
                  </a:cubicBezTo>
                  <a:cubicBezTo>
                    <a:pt x="215" y="88"/>
                    <a:pt x="215" y="88"/>
                    <a:pt x="215" y="88"/>
                  </a:cubicBezTo>
                  <a:cubicBezTo>
                    <a:pt x="227" y="88"/>
                    <a:pt x="238" y="99"/>
                    <a:pt x="238" y="112"/>
                  </a:cubicBezTo>
                  <a:close/>
                  <a:moveTo>
                    <a:pt x="226" y="112"/>
                  </a:moveTo>
                  <a:cubicBezTo>
                    <a:pt x="226" y="106"/>
                    <a:pt x="222" y="101"/>
                    <a:pt x="215" y="101"/>
                  </a:cubicBezTo>
                  <a:cubicBezTo>
                    <a:pt x="23" y="101"/>
                    <a:pt x="23" y="101"/>
                    <a:pt x="23" y="101"/>
                  </a:cubicBezTo>
                  <a:cubicBezTo>
                    <a:pt x="16" y="101"/>
                    <a:pt x="12" y="106"/>
                    <a:pt x="12" y="112"/>
                  </a:cubicBezTo>
                  <a:cubicBezTo>
                    <a:pt x="12" y="233"/>
                    <a:pt x="12" y="233"/>
                    <a:pt x="12" y="233"/>
                  </a:cubicBezTo>
                  <a:cubicBezTo>
                    <a:pt x="12" y="238"/>
                    <a:pt x="16" y="244"/>
                    <a:pt x="23" y="244"/>
                  </a:cubicBezTo>
                  <a:cubicBezTo>
                    <a:pt x="215" y="244"/>
                    <a:pt x="215" y="244"/>
                    <a:pt x="215" y="244"/>
                  </a:cubicBezTo>
                  <a:cubicBezTo>
                    <a:pt x="222" y="244"/>
                    <a:pt x="226" y="238"/>
                    <a:pt x="226" y="233"/>
                  </a:cubicBezTo>
                  <a:cubicBezTo>
                    <a:pt x="226" y="112"/>
                    <a:pt x="226" y="112"/>
                    <a:pt x="226" y="112"/>
                  </a:cubicBezTo>
                  <a:cubicBezTo>
                    <a:pt x="226" y="112"/>
                    <a:pt x="226" y="112"/>
                    <a:pt x="226" y="112"/>
                  </a:cubicBezTo>
                  <a:close/>
                  <a:moveTo>
                    <a:pt x="21" y="108"/>
                  </a:moveTo>
                  <a:cubicBezTo>
                    <a:pt x="218" y="108"/>
                    <a:pt x="218" y="108"/>
                    <a:pt x="218" y="108"/>
                  </a:cubicBezTo>
                  <a:cubicBezTo>
                    <a:pt x="218" y="132"/>
                    <a:pt x="218" y="132"/>
                    <a:pt x="218" y="132"/>
                  </a:cubicBezTo>
                  <a:cubicBezTo>
                    <a:pt x="21" y="132"/>
                    <a:pt x="21" y="132"/>
                    <a:pt x="21" y="132"/>
                  </a:cubicBezTo>
                  <a:cubicBezTo>
                    <a:pt x="21" y="108"/>
                    <a:pt x="21" y="108"/>
                    <a:pt x="21" y="108"/>
                  </a:cubicBezTo>
                  <a:cubicBezTo>
                    <a:pt x="21" y="108"/>
                    <a:pt x="21" y="108"/>
                    <a:pt x="21" y="108"/>
                  </a:cubicBezTo>
                  <a:close/>
                  <a:moveTo>
                    <a:pt x="79" y="126"/>
                  </a:moveTo>
                  <a:cubicBezTo>
                    <a:pt x="211" y="126"/>
                    <a:pt x="211" y="126"/>
                    <a:pt x="211" y="126"/>
                  </a:cubicBezTo>
                  <a:cubicBezTo>
                    <a:pt x="211" y="114"/>
                    <a:pt x="211" y="114"/>
                    <a:pt x="211" y="114"/>
                  </a:cubicBezTo>
                  <a:cubicBezTo>
                    <a:pt x="79" y="114"/>
                    <a:pt x="79" y="114"/>
                    <a:pt x="79" y="114"/>
                  </a:cubicBezTo>
                  <a:cubicBezTo>
                    <a:pt x="79" y="126"/>
                    <a:pt x="79" y="126"/>
                    <a:pt x="79" y="126"/>
                  </a:cubicBezTo>
                  <a:cubicBezTo>
                    <a:pt x="79" y="126"/>
                    <a:pt x="79" y="126"/>
                    <a:pt x="79" y="126"/>
                  </a:cubicBezTo>
                  <a:close/>
                  <a:moveTo>
                    <a:pt x="27" y="126"/>
                  </a:moveTo>
                  <a:cubicBezTo>
                    <a:pt x="72" y="126"/>
                    <a:pt x="72" y="126"/>
                    <a:pt x="72" y="126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27" y="114"/>
                    <a:pt x="27" y="114"/>
                    <a:pt x="27" y="114"/>
                  </a:cubicBezTo>
                  <a:cubicBezTo>
                    <a:pt x="27" y="126"/>
                    <a:pt x="27" y="126"/>
                    <a:pt x="27" y="126"/>
                  </a:cubicBezTo>
                  <a:cubicBezTo>
                    <a:pt x="27" y="126"/>
                    <a:pt x="27" y="126"/>
                    <a:pt x="27" y="126"/>
                  </a:cubicBezTo>
                  <a:close/>
                  <a:moveTo>
                    <a:pt x="97" y="199"/>
                  </a:moveTo>
                  <a:cubicBezTo>
                    <a:pt x="97" y="220"/>
                    <a:pt x="79" y="236"/>
                    <a:pt x="59" y="236"/>
                  </a:cubicBezTo>
                  <a:cubicBezTo>
                    <a:pt x="38" y="236"/>
                    <a:pt x="21" y="220"/>
                    <a:pt x="21" y="199"/>
                  </a:cubicBezTo>
                  <a:cubicBezTo>
                    <a:pt x="21" y="179"/>
                    <a:pt x="38" y="161"/>
                    <a:pt x="59" y="161"/>
                  </a:cubicBezTo>
                  <a:cubicBezTo>
                    <a:pt x="79" y="161"/>
                    <a:pt x="97" y="179"/>
                    <a:pt x="97" y="199"/>
                  </a:cubicBezTo>
                  <a:close/>
                  <a:moveTo>
                    <a:pt x="90" y="199"/>
                  </a:moveTo>
                  <a:cubicBezTo>
                    <a:pt x="90" y="180"/>
                    <a:pt x="76" y="168"/>
                    <a:pt x="59" y="168"/>
                  </a:cubicBezTo>
                  <a:cubicBezTo>
                    <a:pt x="41" y="168"/>
                    <a:pt x="27" y="180"/>
                    <a:pt x="27" y="199"/>
                  </a:cubicBezTo>
                  <a:cubicBezTo>
                    <a:pt x="27" y="217"/>
                    <a:pt x="41" y="231"/>
                    <a:pt x="59" y="231"/>
                  </a:cubicBezTo>
                  <a:cubicBezTo>
                    <a:pt x="76" y="231"/>
                    <a:pt x="90" y="217"/>
                    <a:pt x="90" y="199"/>
                  </a:cubicBezTo>
                  <a:close/>
                  <a:moveTo>
                    <a:pt x="110" y="184"/>
                  </a:moveTo>
                  <a:cubicBezTo>
                    <a:pt x="215" y="184"/>
                    <a:pt x="215" y="184"/>
                    <a:pt x="215" y="184"/>
                  </a:cubicBezTo>
                  <a:cubicBezTo>
                    <a:pt x="215" y="177"/>
                    <a:pt x="215" y="177"/>
                    <a:pt x="215" y="177"/>
                  </a:cubicBezTo>
                  <a:cubicBezTo>
                    <a:pt x="110" y="177"/>
                    <a:pt x="110" y="177"/>
                    <a:pt x="110" y="177"/>
                  </a:cubicBezTo>
                  <a:cubicBezTo>
                    <a:pt x="110" y="184"/>
                    <a:pt x="110" y="184"/>
                    <a:pt x="110" y="184"/>
                  </a:cubicBezTo>
                  <a:cubicBezTo>
                    <a:pt x="110" y="184"/>
                    <a:pt x="110" y="184"/>
                    <a:pt x="110" y="184"/>
                  </a:cubicBezTo>
                  <a:close/>
                  <a:moveTo>
                    <a:pt x="110" y="200"/>
                  </a:moveTo>
                  <a:cubicBezTo>
                    <a:pt x="215" y="200"/>
                    <a:pt x="215" y="200"/>
                    <a:pt x="215" y="200"/>
                  </a:cubicBezTo>
                  <a:cubicBezTo>
                    <a:pt x="215" y="195"/>
                    <a:pt x="215" y="195"/>
                    <a:pt x="215" y="195"/>
                  </a:cubicBezTo>
                  <a:cubicBezTo>
                    <a:pt x="110" y="195"/>
                    <a:pt x="110" y="195"/>
                    <a:pt x="110" y="195"/>
                  </a:cubicBezTo>
                  <a:cubicBezTo>
                    <a:pt x="110" y="200"/>
                    <a:pt x="110" y="200"/>
                    <a:pt x="110" y="200"/>
                  </a:cubicBezTo>
                  <a:cubicBezTo>
                    <a:pt x="110" y="200"/>
                    <a:pt x="110" y="200"/>
                    <a:pt x="110" y="200"/>
                  </a:cubicBezTo>
                  <a:close/>
                  <a:moveTo>
                    <a:pt x="110" y="218"/>
                  </a:moveTo>
                  <a:cubicBezTo>
                    <a:pt x="215" y="218"/>
                    <a:pt x="215" y="218"/>
                    <a:pt x="215" y="218"/>
                  </a:cubicBezTo>
                  <a:cubicBezTo>
                    <a:pt x="215" y="213"/>
                    <a:pt x="215" y="213"/>
                    <a:pt x="215" y="213"/>
                  </a:cubicBezTo>
                  <a:cubicBezTo>
                    <a:pt x="110" y="213"/>
                    <a:pt x="110" y="213"/>
                    <a:pt x="110" y="213"/>
                  </a:cubicBezTo>
                  <a:cubicBezTo>
                    <a:pt x="110" y="218"/>
                    <a:pt x="110" y="218"/>
                    <a:pt x="110" y="218"/>
                  </a:cubicBezTo>
                  <a:cubicBezTo>
                    <a:pt x="110" y="218"/>
                    <a:pt x="110" y="218"/>
                    <a:pt x="110" y="218"/>
                  </a:cubicBezTo>
                  <a:close/>
                  <a:moveTo>
                    <a:pt x="180" y="23"/>
                  </a:moveTo>
                  <a:cubicBezTo>
                    <a:pt x="182" y="23"/>
                    <a:pt x="182" y="23"/>
                    <a:pt x="184" y="22"/>
                  </a:cubicBezTo>
                  <a:cubicBezTo>
                    <a:pt x="200" y="13"/>
                    <a:pt x="200" y="13"/>
                    <a:pt x="200" y="13"/>
                  </a:cubicBezTo>
                  <a:cubicBezTo>
                    <a:pt x="204" y="11"/>
                    <a:pt x="206" y="7"/>
                    <a:pt x="204" y="4"/>
                  </a:cubicBezTo>
                  <a:cubicBezTo>
                    <a:pt x="202" y="2"/>
                    <a:pt x="198" y="0"/>
                    <a:pt x="195" y="2"/>
                  </a:cubicBezTo>
                  <a:cubicBezTo>
                    <a:pt x="177" y="11"/>
                    <a:pt x="177" y="11"/>
                    <a:pt x="177" y="11"/>
                  </a:cubicBezTo>
                  <a:cubicBezTo>
                    <a:pt x="175" y="13"/>
                    <a:pt x="173" y="16"/>
                    <a:pt x="175" y="20"/>
                  </a:cubicBezTo>
                  <a:cubicBezTo>
                    <a:pt x="177" y="22"/>
                    <a:pt x="179" y="23"/>
                    <a:pt x="180" y="2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9" name="Freeform 136"/>
            <p:cNvSpPr>
              <a:spLocks noEditPoints="1"/>
            </p:cNvSpPr>
            <p:nvPr/>
          </p:nvSpPr>
          <p:spPr bwMode="auto">
            <a:xfrm>
              <a:off x="5328084" y="2300140"/>
              <a:ext cx="427138" cy="351184"/>
            </a:xfrm>
            <a:custGeom>
              <a:avLst/>
              <a:gdLst>
                <a:gd name="T0" fmla="*/ 128 w 221"/>
                <a:gd name="T1" fmla="*/ 160 h 182"/>
                <a:gd name="T2" fmla="*/ 134 w 221"/>
                <a:gd name="T3" fmla="*/ 165 h 182"/>
                <a:gd name="T4" fmla="*/ 128 w 221"/>
                <a:gd name="T5" fmla="*/ 170 h 182"/>
                <a:gd name="T6" fmla="*/ 90 w 221"/>
                <a:gd name="T7" fmla="*/ 170 h 182"/>
                <a:gd name="T8" fmla="*/ 85 w 221"/>
                <a:gd name="T9" fmla="*/ 165 h 182"/>
                <a:gd name="T10" fmla="*/ 90 w 221"/>
                <a:gd name="T11" fmla="*/ 160 h 182"/>
                <a:gd name="T12" fmla="*/ 128 w 221"/>
                <a:gd name="T13" fmla="*/ 160 h 182"/>
                <a:gd name="T14" fmla="*/ 207 w 221"/>
                <a:gd name="T15" fmla="*/ 182 h 182"/>
                <a:gd name="T16" fmla="*/ 221 w 221"/>
                <a:gd name="T17" fmla="*/ 169 h 182"/>
                <a:gd name="T18" fmla="*/ 221 w 221"/>
                <a:gd name="T19" fmla="*/ 146 h 182"/>
                <a:gd name="T20" fmla="*/ 0 w 221"/>
                <a:gd name="T21" fmla="*/ 146 h 182"/>
                <a:gd name="T22" fmla="*/ 0 w 221"/>
                <a:gd name="T23" fmla="*/ 169 h 182"/>
                <a:gd name="T24" fmla="*/ 13 w 221"/>
                <a:gd name="T25" fmla="*/ 182 h 182"/>
                <a:gd name="T26" fmla="*/ 207 w 221"/>
                <a:gd name="T27" fmla="*/ 182 h 182"/>
                <a:gd name="T28" fmla="*/ 214 w 221"/>
                <a:gd name="T29" fmla="*/ 153 h 182"/>
                <a:gd name="T30" fmla="*/ 214 w 221"/>
                <a:gd name="T31" fmla="*/ 169 h 182"/>
                <a:gd name="T32" fmla="*/ 207 w 221"/>
                <a:gd name="T33" fmla="*/ 175 h 182"/>
                <a:gd name="T34" fmla="*/ 13 w 221"/>
                <a:gd name="T35" fmla="*/ 175 h 182"/>
                <a:gd name="T36" fmla="*/ 7 w 221"/>
                <a:gd name="T37" fmla="*/ 169 h 182"/>
                <a:gd name="T38" fmla="*/ 7 w 221"/>
                <a:gd name="T39" fmla="*/ 153 h 182"/>
                <a:gd name="T40" fmla="*/ 214 w 221"/>
                <a:gd name="T41" fmla="*/ 153 h 182"/>
                <a:gd name="T42" fmla="*/ 214 w 221"/>
                <a:gd name="T43" fmla="*/ 153 h 182"/>
                <a:gd name="T44" fmla="*/ 208 w 221"/>
                <a:gd name="T45" fmla="*/ 143 h 182"/>
                <a:gd name="T46" fmla="*/ 211 w 221"/>
                <a:gd name="T47" fmla="*/ 139 h 182"/>
                <a:gd name="T48" fmla="*/ 211 w 221"/>
                <a:gd name="T49" fmla="*/ 11 h 182"/>
                <a:gd name="T50" fmla="*/ 208 w 221"/>
                <a:gd name="T51" fmla="*/ 9 h 182"/>
                <a:gd name="T52" fmla="*/ 204 w 221"/>
                <a:gd name="T53" fmla="*/ 11 h 182"/>
                <a:gd name="T54" fmla="*/ 204 w 221"/>
                <a:gd name="T55" fmla="*/ 136 h 182"/>
                <a:gd name="T56" fmla="*/ 17 w 221"/>
                <a:gd name="T57" fmla="*/ 136 h 182"/>
                <a:gd name="T58" fmla="*/ 17 w 221"/>
                <a:gd name="T59" fmla="*/ 6 h 182"/>
                <a:gd name="T60" fmla="*/ 198 w 221"/>
                <a:gd name="T61" fmla="*/ 6 h 182"/>
                <a:gd name="T62" fmla="*/ 202 w 221"/>
                <a:gd name="T63" fmla="*/ 3 h 182"/>
                <a:gd name="T64" fmla="*/ 198 w 221"/>
                <a:gd name="T65" fmla="*/ 0 h 182"/>
                <a:gd name="T66" fmla="*/ 13 w 221"/>
                <a:gd name="T67" fmla="*/ 0 h 182"/>
                <a:gd name="T68" fmla="*/ 10 w 221"/>
                <a:gd name="T69" fmla="*/ 3 h 182"/>
                <a:gd name="T70" fmla="*/ 10 w 221"/>
                <a:gd name="T71" fmla="*/ 139 h 182"/>
                <a:gd name="T72" fmla="*/ 13 w 221"/>
                <a:gd name="T73" fmla="*/ 143 h 182"/>
                <a:gd name="T74" fmla="*/ 208 w 221"/>
                <a:gd name="T75" fmla="*/ 143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1" h="182">
                  <a:moveTo>
                    <a:pt x="128" y="160"/>
                  </a:moveTo>
                  <a:cubicBezTo>
                    <a:pt x="131" y="160"/>
                    <a:pt x="134" y="162"/>
                    <a:pt x="134" y="165"/>
                  </a:cubicBezTo>
                  <a:cubicBezTo>
                    <a:pt x="134" y="168"/>
                    <a:pt x="131" y="170"/>
                    <a:pt x="128" y="170"/>
                  </a:cubicBezTo>
                  <a:cubicBezTo>
                    <a:pt x="90" y="170"/>
                    <a:pt x="90" y="170"/>
                    <a:pt x="90" y="170"/>
                  </a:cubicBezTo>
                  <a:cubicBezTo>
                    <a:pt x="87" y="170"/>
                    <a:pt x="85" y="168"/>
                    <a:pt x="85" y="165"/>
                  </a:cubicBezTo>
                  <a:cubicBezTo>
                    <a:pt x="85" y="162"/>
                    <a:pt x="87" y="160"/>
                    <a:pt x="90" y="160"/>
                  </a:cubicBezTo>
                  <a:cubicBezTo>
                    <a:pt x="128" y="160"/>
                    <a:pt x="128" y="160"/>
                    <a:pt x="128" y="160"/>
                  </a:cubicBezTo>
                  <a:moveTo>
                    <a:pt x="207" y="182"/>
                  </a:moveTo>
                  <a:cubicBezTo>
                    <a:pt x="215" y="182"/>
                    <a:pt x="221" y="176"/>
                    <a:pt x="221" y="169"/>
                  </a:cubicBezTo>
                  <a:cubicBezTo>
                    <a:pt x="221" y="146"/>
                    <a:pt x="221" y="146"/>
                    <a:pt x="221" y="146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176"/>
                    <a:pt x="5" y="182"/>
                    <a:pt x="13" y="182"/>
                  </a:cubicBezTo>
                  <a:cubicBezTo>
                    <a:pt x="207" y="182"/>
                    <a:pt x="207" y="182"/>
                    <a:pt x="207" y="182"/>
                  </a:cubicBezTo>
                  <a:moveTo>
                    <a:pt x="214" y="153"/>
                  </a:moveTo>
                  <a:cubicBezTo>
                    <a:pt x="214" y="169"/>
                    <a:pt x="214" y="169"/>
                    <a:pt x="214" y="169"/>
                  </a:cubicBezTo>
                  <a:cubicBezTo>
                    <a:pt x="214" y="172"/>
                    <a:pt x="211" y="175"/>
                    <a:pt x="207" y="175"/>
                  </a:cubicBezTo>
                  <a:cubicBezTo>
                    <a:pt x="13" y="175"/>
                    <a:pt x="13" y="175"/>
                    <a:pt x="13" y="175"/>
                  </a:cubicBezTo>
                  <a:cubicBezTo>
                    <a:pt x="10" y="175"/>
                    <a:pt x="7" y="172"/>
                    <a:pt x="7" y="169"/>
                  </a:cubicBezTo>
                  <a:cubicBezTo>
                    <a:pt x="7" y="153"/>
                    <a:pt x="7" y="153"/>
                    <a:pt x="7" y="153"/>
                  </a:cubicBezTo>
                  <a:cubicBezTo>
                    <a:pt x="214" y="153"/>
                    <a:pt x="214" y="153"/>
                    <a:pt x="214" y="153"/>
                  </a:cubicBezTo>
                  <a:cubicBezTo>
                    <a:pt x="214" y="153"/>
                    <a:pt x="214" y="153"/>
                    <a:pt x="214" y="153"/>
                  </a:cubicBezTo>
                  <a:close/>
                  <a:moveTo>
                    <a:pt x="208" y="143"/>
                  </a:moveTo>
                  <a:cubicBezTo>
                    <a:pt x="210" y="143"/>
                    <a:pt x="211" y="142"/>
                    <a:pt x="211" y="139"/>
                  </a:cubicBezTo>
                  <a:cubicBezTo>
                    <a:pt x="211" y="11"/>
                    <a:pt x="211" y="11"/>
                    <a:pt x="211" y="11"/>
                  </a:cubicBezTo>
                  <a:cubicBezTo>
                    <a:pt x="211" y="10"/>
                    <a:pt x="210" y="9"/>
                    <a:pt x="208" y="9"/>
                  </a:cubicBezTo>
                  <a:cubicBezTo>
                    <a:pt x="205" y="9"/>
                    <a:pt x="204" y="10"/>
                    <a:pt x="204" y="11"/>
                  </a:cubicBezTo>
                  <a:cubicBezTo>
                    <a:pt x="204" y="136"/>
                    <a:pt x="204" y="136"/>
                    <a:pt x="204" y="136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98" y="6"/>
                    <a:pt x="198" y="6"/>
                    <a:pt x="198" y="6"/>
                  </a:cubicBezTo>
                  <a:cubicBezTo>
                    <a:pt x="201" y="6"/>
                    <a:pt x="202" y="4"/>
                    <a:pt x="202" y="3"/>
                  </a:cubicBezTo>
                  <a:cubicBezTo>
                    <a:pt x="202" y="1"/>
                    <a:pt x="201" y="0"/>
                    <a:pt x="198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1" y="0"/>
                    <a:pt x="10" y="1"/>
                    <a:pt x="10" y="3"/>
                  </a:cubicBezTo>
                  <a:cubicBezTo>
                    <a:pt x="10" y="139"/>
                    <a:pt x="10" y="139"/>
                    <a:pt x="10" y="139"/>
                  </a:cubicBezTo>
                  <a:cubicBezTo>
                    <a:pt x="10" y="142"/>
                    <a:pt x="11" y="143"/>
                    <a:pt x="13" y="143"/>
                  </a:cubicBezTo>
                  <a:cubicBezTo>
                    <a:pt x="208" y="143"/>
                    <a:pt x="208" y="143"/>
                    <a:pt x="208" y="143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</p:grpSp>
      <p:grpSp>
        <p:nvGrpSpPr>
          <p:cNvPr id="58" name="Gruppieren 5"/>
          <p:cNvGrpSpPr/>
          <p:nvPr/>
        </p:nvGrpSpPr>
        <p:grpSpPr>
          <a:xfrm>
            <a:off x="3407702" y="5156200"/>
            <a:ext cx="4848537" cy="1057109"/>
            <a:chOff x="2555776" y="3867150"/>
            <a:chExt cx="3636403" cy="792832"/>
          </a:xfrm>
        </p:grpSpPr>
        <p:sp>
          <p:nvSpPr>
            <p:cNvPr id="59" name="Rechteck 2305"/>
            <p:cNvSpPr/>
            <p:nvPr/>
          </p:nvSpPr>
          <p:spPr bwMode="gray">
            <a:xfrm>
              <a:off x="2555776" y="3867150"/>
              <a:ext cx="3636403" cy="252772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noAutofit/>
            </a:bodyPr>
            <a:lstStyle/>
            <a:p>
              <a:pPr algn="ctr">
                <a:spcBef>
                  <a:spcPts val="400"/>
                </a:spcBef>
              </a:pPr>
              <a:r>
                <a:rPr lang="de-DE" sz="1867" b="1" dirty="0">
                  <a:solidFill>
                    <a:schemeClr val="accent2"/>
                  </a:solidFill>
                  <a:latin typeface="Arial" pitchFamily="34" charset="0"/>
                  <a:cs typeface="Arial" pitchFamily="34" charset="0"/>
                </a:rPr>
                <a:t>CODING &amp; QUALITY CHECK</a:t>
              </a:r>
            </a:p>
          </p:txBody>
        </p:sp>
        <p:sp>
          <p:nvSpPr>
            <p:cNvPr id="60" name="Rechteck 2305"/>
            <p:cNvSpPr/>
            <p:nvPr/>
          </p:nvSpPr>
          <p:spPr bwMode="gray">
            <a:xfrm>
              <a:off x="2915816" y="4155926"/>
              <a:ext cx="2844316" cy="504056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600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61" name="Gruppieren 2"/>
          <p:cNvGrpSpPr/>
          <p:nvPr/>
        </p:nvGrpSpPr>
        <p:grpSpPr>
          <a:xfrm>
            <a:off x="8256241" y="5157192"/>
            <a:ext cx="3504927" cy="1056043"/>
            <a:chOff x="6192180" y="3867894"/>
            <a:chExt cx="2628695" cy="792032"/>
          </a:xfrm>
        </p:grpSpPr>
        <p:sp>
          <p:nvSpPr>
            <p:cNvPr id="62" name="Oval 192"/>
            <p:cNvSpPr/>
            <p:nvPr/>
          </p:nvSpPr>
          <p:spPr bwMode="gray">
            <a:xfrm>
              <a:off x="6192180" y="4155926"/>
              <a:ext cx="2627970" cy="504000"/>
            </a:xfrm>
            <a:prstGeom prst="rect">
              <a:avLst/>
            </a:prstGeom>
            <a:noFill/>
            <a:ln w="15875" cap="rnd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92000" tIns="0" rIns="0" bIns="0" numCol="1" spcCol="0" rtlCol="0" fromWordArt="0" anchor="t" anchorCtr="0" forceAA="0" compatLnSpc="1">
              <a:noAutofit/>
            </a:bodyPr>
            <a:lstStyle/>
            <a:p>
              <a:pPr>
                <a:spcBef>
                  <a:spcPts val="400"/>
                </a:spcBef>
              </a:pPr>
              <a:r>
                <a:rPr lang="en-US" sz="16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What sold, </a:t>
              </a:r>
              <a:r>
                <a:rPr lang="en-US" sz="1600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when</a:t>
              </a:r>
              <a:r>
                <a:rPr lang="en-US" sz="16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, </a:t>
              </a:r>
              <a:r>
                <a:rPr lang="en-US" sz="1600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where</a:t>
              </a:r>
              <a:r>
                <a:rPr lang="en-US" sz="16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 </a:t>
              </a:r>
              <a:br>
                <a:rPr lang="en-US" sz="16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6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at </a:t>
              </a:r>
              <a:r>
                <a:rPr lang="en-US" sz="1600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which price</a:t>
              </a:r>
              <a:r>
                <a:rPr lang="en-US" sz="1600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?</a:t>
              </a:r>
            </a:p>
          </p:txBody>
        </p:sp>
        <p:sp>
          <p:nvSpPr>
            <p:cNvPr id="63" name="Rechteck 2305"/>
            <p:cNvSpPr/>
            <p:nvPr/>
          </p:nvSpPr>
          <p:spPr bwMode="gray">
            <a:xfrm>
              <a:off x="6192180" y="3867894"/>
              <a:ext cx="2628695" cy="5760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92000" tIns="0" rIns="0" bIns="0" numCol="1" spcCol="0" rtlCol="0" fromWordArt="0" anchor="t" anchorCtr="0" forceAA="0" compatLnSpc="1">
              <a:noAutofit/>
            </a:bodyPr>
            <a:lstStyle/>
            <a:p>
              <a:pPr>
                <a:spcBef>
                  <a:spcPts val="400"/>
                </a:spcBef>
              </a:pPr>
              <a:r>
                <a:rPr lang="de-DE" sz="1867" b="1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DATA </a:t>
              </a:r>
              <a:r>
                <a:rPr lang="de-DE" sz="1867" b="1" dirty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COLLECTION</a:t>
              </a:r>
            </a:p>
          </p:txBody>
        </p:sp>
      </p:grpSp>
      <p:cxnSp>
        <p:nvCxnSpPr>
          <p:cNvPr id="64" name="Gerade Verbindung 41"/>
          <p:cNvCxnSpPr/>
          <p:nvPr/>
        </p:nvCxnSpPr>
        <p:spPr>
          <a:xfrm>
            <a:off x="8256240" y="5013176"/>
            <a:ext cx="0" cy="1296608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301"/>
          <p:cNvCxnSpPr/>
          <p:nvPr/>
        </p:nvCxnSpPr>
        <p:spPr>
          <a:xfrm>
            <a:off x="3407701" y="5013176"/>
            <a:ext cx="0" cy="1296608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52"/>
          <p:cNvSpPr/>
          <p:nvPr/>
        </p:nvSpPr>
        <p:spPr bwMode="gray">
          <a:xfrm>
            <a:off x="4991595" y="1883090"/>
            <a:ext cx="1295813" cy="1295813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en-GB" sz="2133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Ellipse 110"/>
          <p:cNvSpPr/>
          <p:nvPr/>
        </p:nvSpPr>
        <p:spPr bwMode="gray">
          <a:xfrm>
            <a:off x="4853241" y="1364771"/>
            <a:ext cx="1575640" cy="528059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noAutofit/>
          </a:bodyPr>
          <a:lstStyle/>
          <a:p>
            <a:pPr algn="ctr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</a:pPr>
            <a:br>
              <a:rPr lang="en-US" sz="2400" b="1" dirty="0">
                <a:solidFill>
                  <a:srgbClr val="928580"/>
                </a:solidFill>
                <a:cs typeface="Arial" pitchFamily="34" charset="0"/>
              </a:rPr>
            </a:br>
            <a:r>
              <a:rPr lang="en-US" sz="1333" dirty="0">
                <a:solidFill>
                  <a:srgbClr val="000000"/>
                </a:solidFill>
                <a:cs typeface="Arial" pitchFamily="34" charset="0"/>
              </a:rPr>
              <a:t>retail point-of-sales</a:t>
            </a:r>
          </a:p>
        </p:txBody>
      </p:sp>
      <p:sp>
        <p:nvSpPr>
          <p:cNvPr id="69" name="Freeform 104"/>
          <p:cNvSpPr>
            <a:spLocks noEditPoints="1"/>
          </p:cNvSpPr>
          <p:nvPr/>
        </p:nvSpPr>
        <p:spPr bwMode="auto">
          <a:xfrm>
            <a:off x="4810875" y="2036845"/>
            <a:ext cx="325019" cy="365648"/>
          </a:xfrm>
          <a:custGeom>
            <a:avLst/>
            <a:gdLst>
              <a:gd name="T0" fmla="*/ 193 w 215"/>
              <a:gd name="T1" fmla="*/ 165 h 241"/>
              <a:gd name="T2" fmla="*/ 22 w 215"/>
              <a:gd name="T3" fmla="*/ 169 h 241"/>
              <a:gd name="T4" fmla="*/ 22 w 215"/>
              <a:gd name="T5" fmla="*/ 184 h 241"/>
              <a:gd name="T6" fmla="*/ 193 w 215"/>
              <a:gd name="T7" fmla="*/ 180 h 241"/>
              <a:gd name="T8" fmla="*/ 22 w 215"/>
              <a:gd name="T9" fmla="*/ 184 h 241"/>
              <a:gd name="T10" fmla="*/ 210 w 215"/>
              <a:gd name="T11" fmla="*/ 41 h 241"/>
              <a:gd name="T12" fmla="*/ 198 w 215"/>
              <a:gd name="T13" fmla="*/ 52 h 241"/>
              <a:gd name="T14" fmla="*/ 187 w 215"/>
              <a:gd name="T15" fmla="*/ 41 h 241"/>
              <a:gd name="T16" fmla="*/ 176 w 215"/>
              <a:gd name="T17" fmla="*/ 52 h 241"/>
              <a:gd name="T18" fmla="*/ 164 w 215"/>
              <a:gd name="T19" fmla="*/ 41 h 241"/>
              <a:gd name="T20" fmla="*/ 153 w 215"/>
              <a:gd name="T21" fmla="*/ 52 h 241"/>
              <a:gd name="T22" fmla="*/ 141 w 215"/>
              <a:gd name="T23" fmla="*/ 41 h 241"/>
              <a:gd name="T24" fmla="*/ 130 w 215"/>
              <a:gd name="T25" fmla="*/ 52 h 241"/>
              <a:gd name="T26" fmla="*/ 119 w 215"/>
              <a:gd name="T27" fmla="*/ 41 h 241"/>
              <a:gd name="T28" fmla="*/ 107 w 215"/>
              <a:gd name="T29" fmla="*/ 52 h 241"/>
              <a:gd name="T30" fmla="*/ 96 w 215"/>
              <a:gd name="T31" fmla="*/ 41 h 241"/>
              <a:gd name="T32" fmla="*/ 85 w 215"/>
              <a:gd name="T33" fmla="*/ 52 h 241"/>
              <a:gd name="T34" fmla="*/ 73 w 215"/>
              <a:gd name="T35" fmla="*/ 41 h 241"/>
              <a:gd name="T36" fmla="*/ 62 w 215"/>
              <a:gd name="T37" fmla="*/ 52 h 241"/>
              <a:gd name="T38" fmla="*/ 51 w 215"/>
              <a:gd name="T39" fmla="*/ 41 h 241"/>
              <a:gd name="T40" fmla="*/ 39 w 215"/>
              <a:gd name="T41" fmla="*/ 52 h 241"/>
              <a:gd name="T42" fmla="*/ 28 w 215"/>
              <a:gd name="T43" fmla="*/ 41 h 241"/>
              <a:gd name="T44" fmla="*/ 17 w 215"/>
              <a:gd name="T45" fmla="*/ 52 h 241"/>
              <a:gd name="T46" fmla="*/ 17 w 215"/>
              <a:gd name="T47" fmla="*/ 8 h 241"/>
              <a:gd name="T48" fmla="*/ 206 w 215"/>
              <a:gd name="T49" fmla="*/ 34 h 241"/>
              <a:gd name="T50" fmla="*/ 214 w 215"/>
              <a:gd name="T51" fmla="*/ 34 h 241"/>
              <a:gd name="T52" fmla="*/ 198 w 215"/>
              <a:gd name="T53" fmla="*/ 0 h 241"/>
              <a:gd name="T54" fmla="*/ 9 w 215"/>
              <a:gd name="T55" fmla="*/ 4 h 241"/>
              <a:gd name="T56" fmla="*/ 17 w 215"/>
              <a:gd name="T57" fmla="*/ 60 h 241"/>
              <a:gd name="T58" fmla="*/ 39 w 215"/>
              <a:gd name="T59" fmla="*/ 60 h 241"/>
              <a:gd name="T60" fmla="*/ 62 w 215"/>
              <a:gd name="T61" fmla="*/ 60 h 241"/>
              <a:gd name="T62" fmla="*/ 85 w 215"/>
              <a:gd name="T63" fmla="*/ 60 h 241"/>
              <a:gd name="T64" fmla="*/ 107 w 215"/>
              <a:gd name="T65" fmla="*/ 60 h 241"/>
              <a:gd name="T66" fmla="*/ 130 w 215"/>
              <a:gd name="T67" fmla="*/ 60 h 241"/>
              <a:gd name="T68" fmla="*/ 153 w 215"/>
              <a:gd name="T69" fmla="*/ 60 h 241"/>
              <a:gd name="T70" fmla="*/ 176 w 215"/>
              <a:gd name="T71" fmla="*/ 60 h 241"/>
              <a:gd name="T72" fmla="*/ 198 w 215"/>
              <a:gd name="T73" fmla="*/ 60 h 241"/>
              <a:gd name="T74" fmla="*/ 193 w 215"/>
              <a:gd name="T75" fmla="*/ 133 h 241"/>
              <a:gd name="T76" fmla="*/ 191 w 215"/>
              <a:gd name="T77" fmla="*/ 68 h 241"/>
              <a:gd name="T78" fmla="*/ 189 w 215"/>
              <a:gd name="T79" fmla="*/ 133 h 241"/>
              <a:gd name="T80" fmla="*/ 193 w 215"/>
              <a:gd name="T81" fmla="*/ 133 h 241"/>
              <a:gd name="T82" fmla="*/ 27 w 215"/>
              <a:gd name="T83" fmla="*/ 70 h 241"/>
              <a:gd name="T84" fmla="*/ 23 w 215"/>
              <a:gd name="T85" fmla="*/ 70 h 241"/>
              <a:gd name="T86" fmla="*/ 25 w 215"/>
              <a:gd name="T87" fmla="*/ 135 h 241"/>
              <a:gd name="T88" fmla="*/ 215 w 215"/>
              <a:gd name="T89" fmla="*/ 222 h 241"/>
              <a:gd name="T90" fmla="*/ 196 w 215"/>
              <a:gd name="T91" fmla="*/ 138 h 241"/>
              <a:gd name="T92" fmla="*/ 0 w 215"/>
              <a:gd name="T93" fmla="*/ 158 h 241"/>
              <a:gd name="T94" fmla="*/ 19 w 215"/>
              <a:gd name="T95" fmla="*/ 241 h 241"/>
              <a:gd name="T96" fmla="*/ 215 w 215"/>
              <a:gd name="T97" fmla="*/ 222 h 241"/>
              <a:gd name="T98" fmla="*/ 207 w 215"/>
              <a:gd name="T99" fmla="*/ 158 h 241"/>
              <a:gd name="T100" fmla="*/ 196 w 215"/>
              <a:gd name="T101" fmla="*/ 233 h 241"/>
              <a:gd name="T102" fmla="*/ 8 w 215"/>
              <a:gd name="T103" fmla="*/ 222 h 241"/>
              <a:gd name="T104" fmla="*/ 19 w 215"/>
              <a:gd name="T105" fmla="*/ 146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15" h="241">
                <a:moveTo>
                  <a:pt x="22" y="165"/>
                </a:moveTo>
                <a:cubicBezTo>
                  <a:pt x="193" y="165"/>
                  <a:pt x="193" y="165"/>
                  <a:pt x="193" y="165"/>
                </a:cubicBezTo>
                <a:cubicBezTo>
                  <a:pt x="193" y="169"/>
                  <a:pt x="193" y="169"/>
                  <a:pt x="193" y="169"/>
                </a:cubicBezTo>
                <a:cubicBezTo>
                  <a:pt x="22" y="169"/>
                  <a:pt x="22" y="169"/>
                  <a:pt x="22" y="169"/>
                </a:cubicBezTo>
                <a:lnTo>
                  <a:pt x="22" y="165"/>
                </a:lnTo>
                <a:close/>
                <a:moveTo>
                  <a:pt x="22" y="184"/>
                </a:moveTo>
                <a:cubicBezTo>
                  <a:pt x="193" y="184"/>
                  <a:pt x="193" y="184"/>
                  <a:pt x="193" y="184"/>
                </a:cubicBezTo>
                <a:cubicBezTo>
                  <a:pt x="193" y="180"/>
                  <a:pt x="193" y="180"/>
                  <a:pt x="193" y="180"/>
                </a:cubicBezTo>
                <a:cubicBezTo>
                  <a:pt x="22" y="180"/>
                  <a:pt x="22" y="180"/>
                  <a:pt x="22" y="180"/>
                </a:cubicBezTo>
                <a:lnTo>
                  <a:pt x="22" y="184"/>
                </a:lnTo>
                <a:close/>
                <a:moveTo>
                  <a:pt x="214" y="45"/>
                </a:moveTo>
                <a:cubicBezTo>
                  <a:pt x="214" y="43"/>
                  <a:pt x="212" y="41"/>
                  <a:pt x="210" y="41"/>
                </a:cubicBezTo>
                <a:cubicBezTo>
                  <a:pt x="207" y="41"/>
                  <a:pt x="206" y="43"/>
                  <a:pt x="206" y="45"/>
                </a:cubicBezTo>
                <a:cubicBezTo>
                  <a:pt x="206" y="49"/>
                  <a:pt x="202" y="52"/>
                  <a:pt x="198" y="52"/>
                </a:cubicBezTo>
                <a:cubicBezTo>
                  <a:pt x="194" y="52"/>
                  <a:pt x="191" y="49"/>
                  <a:pt x="191" y="45"/>
                </a:cubicBezTo>
                <a:cubicBezTo>
                  <a:pt x="191" y="43"/>
                  <a:pt x="189" y="41"/>
                  <a:pt x="187" y="41"/>
                </a:cubicBezTo>
                <a:cubicBezTo>
                  <a:pt x="185" y="41"/>
                  <a:pt x="183" y="43"/>
                  <a:pt x="183" y="45"/>
                </a:cubicBezTo>
                <a:cubicBezTo>
                  <a:pt x="183" y="49"/>
                  <a:pt x="180" y="52"/>
                  <a:pt x="176" y="52"/>
                </a:cubicBezTo>
                <a:cubicBezTo>
                  <a:pt x="171" y="52"/>
                  <a:pt x="168" y="49"/>
                  <a:pt x="168" y="45"/>
                </a:cubicBezTo>
                <a:cubicBezTo>
                  <a:pt x="168" y="43"/>
                  <a:pt x="166" y="41"/>
                  <a:pt x="164" y="41"/>
                </a:cubicBezTo>
                <a:cubicBezTo>
                  <a:pt x="162" y="41"/>
                  <a:pt x="160" y="43"/>
                  <a:pt x="160" y="45"/>
                </a:cubicBezTo>
                <a:cubicBezTo>
                  <a:pt x="160" y="49"/>
                  <a:pt x="157" y="52"/>
                  <a:pt x="153" y="52"/>
                </a:cubicBezTo>
                <a:cubicBezTo>
                  <a:pt x="149" y="52"/>
                  <a:pt x="145" y="49"/>
                  <a:pt x="145" y="45"/>
                </a:cubicBezTo>
                <a:cubicBezTo>
                  <a:pt x="145" y="43"/>
                  <a:pt x="144" y="41"/>
                  <a:pt x="141" y="41"/>
                </a:cubicBezTo>
                <a:cubicBezTo>
                  <a:pt x="139" y="41"/>
                  <a:pt x="137" y="43"/>
                  <a:pt x="137" y="45"/>
                </a:cubicBezTo>
                <a:cubicBezTo>
                  <a:pt x="137" y="49"/>
                  <a:pt x="134" y="52"/>
                  <a:pt x="130" y="52"/>
                </a:cubicBezTo>
                <a:cubicBezTo>
                  <a:pt x="126" y="52"/>
                  <a:pt x="123" y="49"/>
                  <a:pt x="123" y="45"/>
                </a:cubicBezTo>
                <a:cubicBezTo>
                  <a:pt x="123" y="43"/>
                  <a:pt x="121" y="41"/>
                  <a:pt x="119" y="41"/>
                </a:cubicBezTo>
                <a:cubicBezTo>
                  <a:pt x="117" y="41"/>
                  <a:pt x="115" y="43"/>
                  <a:pt x="115" y="45"/>
                </a:cubicBezTo>
                <a:cubicBezTo>
                  <a:pt x="115" y="49"/>
                  <a:pt x="112" y="52"/>
                  <a:pt x="107" y="52"/>
                </a:cubicBezTo>
                <a:cubicBezTo>
                  <a:pt x="103" y="52"/>
                  <a:pt x="100" y="49"/>
                  <a:pt x="100" y="45"/>
                </a:cubicBezTo>
                <a:cubicBezTo>
                  <a:pt x="100" y="43"/>
                  <a:pt x="98" y="41"/>
                  <a:pt x="96" y="41"/>
                </a:cubicBezTo>
                <a:cubicBezTo>
                  <a:pt x="94" y="41"/>
                  <a:pt x="92" y="43"/>
                  <a:pt x="92" y="45"/>
                </a:cubicBezTo>
                <a:cubicBezTo>
                  <a:pt x="92" y="49"/>
                  <a:pt x="89" y="52"/>
                  <a:pt x="85" y="52"/>
                </a:cubicBezTo>
                <a:cubicBezTo>
                  <a:pt x="81" y="52"/>
                  <a:pt x="77" y="49"/>
                  <a:pt x="77" y="45"/>
                </a:cubicBezTo>
                <a:cubicBezTo>
                  <a:pt x="77" y="43"/>
                  <a:pt x="76" y="41"/>
                  <a:pt x="73" y="41"/>
                </a:cubicBezTo>
                <a:cubicBezTo>
                  <a:pt x="71" y="41"/>
                  <a:pt x="69" y="43"/>
                  <a:pt x="69" y="45"/>
                </a:cubicBezTo>
                <a:cubicBezTo>
                  <a:pt x="69" y="49"/>
                  <a:pt x="66" y="52"/>
                  <a:pt x="62" y="52"/>
                </a:cubicBezTo>
                <a:cubicBezTo>
                  <a:pt x="58" y="52"/>
                  <a:pt x="55" y="49"/>
                  <a:pt x="55" y="45"/>
                </a:cubicBezTo>
                <a:cubicBezTo>
                  <a:pt x="55" y="43"/>
                  <a:pt x="53" y="41"/>
                  <a:pt x="51" y="41"/>
                </a:cubicBezTo>
                <a:cubicBezTo>
                  <a:pt x="49" y="41"/>
                  <a:pt x="47" y="43"/>
                  <a:pt x="47" y="45"/>
                </a:cubicBezTo>
                <a:cubicBezTo>
                  <a:pt x="47" y="49"/>
                  <a:pt x="43" y="52"/>
                  <a:pt x="39" y="52"/>
                </a:cubicBezTo>
                <a:cubicBezTo>
                  <a:pt x="35" y="52"/>
                  <a:pt x="32" y="49"/>
                  <a:pt x="32" y="45"/>
                </a:cubicBezTo>
                <a:cubicBezTo>
                  <a:pt x="32" y="43"/>
                  <a:pt x="30" y="41"/>
                  <a:pt x="28" y="41"/>
                </a:cubicBezTo>
                <a:cubicBezTo>
                  <a:pt x="26" y="41"/>
                  <a:pt x="24" y="43"/>
                  <a:pt x="24" y="45"/>
                </a:cubicBezTo>
                <a:cubicBezTo>
                  <a:pt x="24" y="49"/>
                  <a:pt x="21" y="52"/>
                  <a:pt x="17" y="52"/>
                </a:cubicBezTo>
                <a:cubicBezTo>
                  <a:pt x="13" y="52"/>
                  <a:pt x="9" y="49"/>
                  <a:pt x="9" y="45"/>
                </a:cubicBezTo>
                <a:cubicBezTo>
                  <a:pt x="17" y="8"/>
                  <a:pt x="17" y="8"/>
                  <a:pt x="17" y="8"/>
                </a:cubicBezTo>
                <a:cubicBezTo>
                  <a:pt x="194" y="8"/>
                  <a:pt x="194" y="8"/>
                  <a:pt x="194" y="8"/>
                </a:cubicBezTo>
                <a:cubicBezTo>
                  <a:pt x="206" y="34"/>
                  <a:pt x="206" y="34"/>
                  <a:pt x="206" y="34"/>
                </a:cubicBezTo>
                <a:cubicBezTo>
                  <a:pt x="206" y="36"/>
                  <a:pt x="207" y="38"/>
                  <a:pt x="210" y="38"/>
                </a:cubicBezTo>
                <a:cubicBezTo>
                  <a:pt x="212" y="38"/>
                  <a:pt x="214" y="36"/>
                  <a:pt x="214" y="34"/>
                </a:cubicBezTo>
                <a:cubicBezTo>
                  <a:pt x="202" y="4"/>
                  <a:pt x="202" y="4"/>
                  <a:pt x="202" y="4"/>
                </a:cubicBezTo>
                <a:cubicBezTo>
                  <a:pt x="202" y="1"/>
                  <a:pt x="200" y="0"/>
                  <a:pt x="198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11" y="0"/>
                  <a:pt x="9" y="1"/>
                  <a:pt x="9" y="4"/>
                </a:cubicBezTo>
                <a:cubicBezTo>
                  <a:pt x="1" y="45"/>
                  <a:pt x="1" y="45"/>
                  <a:pt x="1" y="45"/>
                </a:cubicBezTo>
                <a:cubicBezTo>
                  <a:pt x="1" y="54"/>
                  <a:pt x="8" y="60"/>
                  <a:pt x="17" y="60"/>
                </a:cubicBezTo>
                <a:cubicBezTo>
                  <a:pt x="21" y="60"/>
                  <a:pt x="25" y="58"/>
                  <a:pt x="28" y="55"/>
                </a:cubicBezTo>
                <a:cubicBezTo>
                  <a:pt x="31" y="58"/>
                  <a:pt x="35" y="60"/>
                  <a:pt x="39" y="60"/>
                </a:cubicBezTo>
                <a:cubicBezTo>
                  <a:pt x="44" y="60"/>
                  <a:pt x="48" y="58"/>
                  <a:pt x="51" y="55"/>
                </a:cubicBezTo>
                <a:cubicBezTo>
                  <a:pt x="54" y="58"/>
                  <a:pt x="58" y="60"/>
                  <a:pt x="62" y="60"/>
                </a:cubicBezTo>
                <a:cubicBezTo>
                  <a:pt x="67" y="60"/>
                  <a:pt x="71" y="58"/>
                  <a:pt x="73" y="55"/>
                </a:cubicBezTo>
                <a:cubicBezTo>
                  <a:pt x="76" y="58"/>
                  <a:pt x="80" y="60"/>
                  <a:pt x="85" y="60"/>
                </a:cubicBezTo>
                <a:cubicBezTo>
                  <a:pt x="89" y="60"/>
                  <a:pt x="93" y="58"/>
                  <a:pt x="96" y="55"/>
                </a:cubicBezTo>
                <a:cubicBezTo>
                  <a:pt x="99" y="58"/>
                  <a:pt x="103" y="60"/>
                  <a:pt x="107" y="60"/>
                </a:cubicBezTo>
                <a:cubicBezTo>
                  <a:pt x="112" y="60"/>
                  <a:pt x="116" y="58"/>
                  <a:pt x="119" y="55"/>
                </a:cubicBezTo>
                <a:cubicBezTo>
                  <a:pt x="122" y="58"/>
                  <a:pt x="126" y="60"/>
                  <a:pt x="130" y="60"/>
                </a:cubicBezTo>
                <a:cubicBezTo>
                  <a:pt x="135" y="60"/>
                  <a:pt x="139" y="58"/>
                  <a:pt x="141" y="55"/>
                </a:cubicBezTo>
                <a:cubicBezTo>
                  <a:pt x="144" y="58"/>
                  <a:pt x="148" y="60"/>
                  <a:pt x="153" y="60"/>
                </a:cubicBezTo>
                <a:cubicBezTo>
                  <a:pt x="157" y="60"/>
                  <a:pt x="161" y="58"/>
                  <a:pt x="164" y="55"/>
                </a:cubicBezTo>
                <a:cubicBezTo>
                  <a:pt x="167" y="58"/>
                  <a:pt x="171" y="60"/>
                  <a:pt x="176" y="60"/>
                </a:cubicBezTo>
                <a:cubicBezTo>
                  <a:pt x="180" y="60"/>
                  <a:pt x="184" y="58"/>
                  <a:pt x="187" y="55"/>
                </a:cubicBezTo>
                <a:cubicBezTo>
                  <a:pt x="190" y="58"/>
                  <a:pt x="194" y="60"/>
                  <a:pt x="198" y="60"/>
                </a:cubicBezTo>
                <a:cubicBezTo>
                  <a:pt x="207" y="60"/>
                  <a:pt x="214" y="54"/>
                  <a:pt x="214" y="45"/>
                </a:cubicBezTo>
                <a:close/>
                <a:moveTo>
                  <a:pt x="193" y="133"/>
                </a:move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2" y="68"/>
                  <a:pt x="191" y="68"/>
                </a:cubicBezTo>
                <a:cubicBezTo>
                  <a:pt x="190" y="68"/>
                  <a:pt x="189" y="69"/>
                  <a:pt x="189" y="70"/>
                </a:cubicBezTo>
                <a:cubicBezTo>
                  <a:pt x="189" y="133"/>
                  <a:pt x="189" y="133"/>
                  <a:pt x="189" y="133"/>
                </a:cubicBezTo>
                <a:cubicBezTo>
                  <a:pt x="189" y="134"/>
                  <a:pt x="190" y="135"/>
                  <a:pt x="191" y="135"/>
                </a:cubicBezTo>
                <a:cubicBezTo>
                  <a:pt x="192" y="135"/>
                  <a:pt x="193" y="134"/>
                  <a:pt x="193" y="133"/>
                </a:cubicBezTo>
                <a:close/>
                <a:moveTo>
                  <a:pt x="27" y="133"/>
                </a:moveTo>
                <a:cubicBezTo>
                  <a:pt x="27" y="70"/>
                  <a:pt x="27" y="70"/>
                  <a:pt x="27" y="70"/>
                </a:cubicBezTo>
                <a:cubicBezTo>
                  <a:pt x="27" y="69"/>
                  <a:pt x="26" y="68"/>
                  <a:pt x="25" y="68"/>
                </a:cubicBezTo>
                <a:cubicBezTo>
                  <a:pt x="24" y="68"/>
                  <a:pt x="23" y="69"/>
                  <a:pt x="23" y="70"/>
                </a:cubicBezTo>
                <a:cubicBezTo>
                  <a:pt x="23" y="133"/>
                  <a:pt x="23" y="133"/>
                  <a:pt x="23" y="133"/>
                </a:cubicBezTo>
                <a:cubicBezTo>
                  <a:pt x="23" y="134"/>
                  <a:pt x="24" y="135"/>
                  <a:pt x="25" y="135"/>
                </a:cubicBezTo>
                <a:cubicBezTo>
                  <a:pt x="26" y="135"/>
                  <a:pt x="27" y="134"/>
                  <a:pt x="27" y="133"/>
                </a:cubicBezTo>
                <a:close/>
                <a:moveTo>
                  <a:pt x="215" y="222"/>
                </a:moveTo>
                <a:cubicBezTo>
                  <a:pt x="215" y="158"/>
                  <a:pt x="215" y="158"/>
                  <a:pt x="215" y="158"/>
                </a:cubicBezTo>
                <a:cubicBezTo>
                  <a:pt x="215" y="147"/>
                  <a:pt x="207" y="138"/>
                  <a:pt x="196" y="138"/>
                </a:cubicBezTo>
                <a:cubicBezTo>
                  <a:pt x="19" y="138"/>
                  <a:pt x="19" y="138"/>
                  <a:pt x="19" y="138"/>
                </a:cubicBezTo>
                <a:cubicBezTo>
                  <a:pt x="8" y="138"/>
                  <a:pt x="0" y="147"/>
                  <a:pt x="0" y="158"/>
                </a:cubicBezTo>
                <a:cubicBezTo>
                  <a:pt x="0" y="222"/>
                  <a:pt x="0" y="222"/>
                  <a:pt x="0" y="222"/>
                </a:cubicBezTo>
                <a:cubicBezTo>
                  <a:pt x="0" y="232"/>
                  <a:pt x="8" y="241"/>
                  <a:pt x="19" y="241"/>
                </a:cubicBezTo>
                <a:cubicBezTo>
                  <a:pt x="196" y="241"/>
                  <a:pt x="196" y="241"/>
                  <a:pt x="196" y="241"/>
                </a:cubicBezTo>
                <a:cubicBezTo>
                  <a:pt x="207" y="241"/>
                  <a:pt x="215" y="232"/>
                  <a:pt x="215" y="222"/>
                </a:cubicBezTo>
                <a:close/>
                <a:moveTo>
                  <a:pt x="196" y="146"/>
                </a:moveTo>
                <a:cubicBezTo>
                  <a:pt x="202" y="146"/>
                  <a:pt x="207" y="152"/>
                  <a:pt x="207" y="158"/>
                </a:cubicBezTo>
                <a:cubicBezTo>
                  <a:pt x="207" y="222"/>
                  <a:pt x="207" y="222"/>
                  <a:pt x="207" y="222"/>
                </a:cubicBezTo>
                <a:cubicBezTo>
                  <a:pt x="207" y="228"/>
                  <a:pt x="202" y="233"/>
                  <a:pt x="196" y="233"/>
                </a:cubicBezTo>
                <a:cubicBezTo>
                  <a:pt x="19" y="233"/>
                  <a:pt x="19" y="233"/>
                  <a:pt x="19" y="233"/>
                </a:cubicBezTo>
                <a:cubicBezTo>
                  <a:pt x="13" y="233"/>
                  <a:pt x="8" y="228"/>
                  <a:pt x="8" y="222"/>
                </a:cubicBezTo>
                <a:cubicBezTo>
                  <a:pt x="8" y="158"/>
                  <a:pt x="8" y="158"/>
                  <a:pt x="8" y="158"/>
                </a:cubicBezTo>
                <a:cubicBezTo>
                  <a:pt x="8" y="152"/>
                  <a:pt x="13" y="146"/>
                  <a:pt x="19" y="146"/>
                </a:cubicBezTo>
                <a:lnTo>
                  <a:pt x="196" y="14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de-DE" sz="2400"/>
          </a:p>
        </p:txBody>
      </p:sp>
      <p:grpSp>
        <p:nvGrpSpPr>
          <p:cNvPr id="70" name="Group 148"/>
          <p:cNvGrpSpPr/>
          <p:nvPr/>
        </p:nvGrpSpPr>
        <p:grpSpPr>
          <a:xfrm>
            <a:off x="6110139" y="2036845"/>
            <a:ext cx="364811" cy="349472"/>
            <a:chOff x="1943709" y="1304538"/>
            <a:chExt cx="576064" cy="551845"/>
          </a:xfrm>
        </p:grpSpPr>
        <p:pic>
          <p:nvPicPr>
            <p:cNvPr id="71" name="Picture 106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43709" y="1304538"/>
              <a:ext cx="576064" cy="5518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2" name="Picture 107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08259" y="1437815"/>
              <a:ext cx="246965" cy="1961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73" name="Freeform 84"/>
          <p:cNvSpPr>
            <a:spLocks noEditPoints="1"/>
          </p:cNvSpPr>
          <p:nvPr/>
        </p:nvSpPr>
        <p:spPr bwMode="auto">
          <a:xfrm>
            <a:off x="4853240" y="2705182"/>
            <a:ext cx="330659" cy="243765"/>
          </a:xfrm>
          <a:custGeom>
            <a:avLst/>
            <a:gdLst>
              <a:gd name="T0" fmla="*/ 32 w 249"/>
              <a:gd name="T1" fmla="*/ 40 h 184"/>
              <a:gd name="T2" fmla="*/ 36 w 249"/>
              <a:gd name="T3" fmla="*/ 69 h 184"/>
              <a:gd name="T4" fmla="*/ 36 w 249"/>
              <a:gd name="T5" fmla="*/ 44 h 184"/>
              <a:gd name="T6" fmla="*/ 126 w 249"/>
              <a:gd name="T7" fmla="*/ 117 h 184"/>
              <a:gd name="T8" fmla="*/ 122 w 249"/>
              <a:gd name="T9" fmla="*/ 176 h 184"/>
              <a:gd name="T10" fmla="*/ 115 w 249"/>
              <a:gd name="T11" fmla="*/ 150 h 184"/>
              <a:gd name="T12" fmla="*/ 134 w 249"/>
              <a:gd name="T13" fmla="*/ 146 h 184"/>
              <a:gd name="T14" fmla="*/ 115 w 249"/>
              <a:gd name="T15" fmla="*/ 150 h 184"/>
              <a:gd name="T16" fmla="*/ 204 w 249"/>
              <a:gd name="T17" fmla="*/ 0 h 184"/>
              <a:gd name="T18" fmla="*/ 19 w 249"/>
              <a:gd name="T19" fmla="*/ 18 h 184"/>
              <a:gd name="T20" fmla="*/ 19 w 249"/>
              <a:gd name="T21" fmla="*/ 184 h 184"/>
              <a:gd name="T22" fmla="*/ 249 w 249"/>
              <a:gd name="T23" fmla="*/ 37 h 184"/>
              <a:gd name="T24" fmla="*/ 204 w 249"/>
              <a:gd name="T25" fmla="*/ 8 h 184"/>
              <a:gd name="T26" fmla="*/ 45 w 249"/>
              <a:gd name="T27" fmla="*/ 8 h 184"/>
              <a:gd name="T28" fmla="*/ 19 w 249"/>
              <a:gd name="T29" fmla="*/ 176 h 184"/>
              <a:gd name="T30" fmla="*/ 19 w 249"/>
              <a:gd name="T31" fmla="*/ 26 h 184"/>
              <a:gd name="T32" fmla="*/ 241 w 249"/>
              <a:gd name="T33" fmla="*/ 165 h 184"/>
              <a:gd name="T34" fmla="*/ 68 w 249"/>
              <a:gd name="T35" fmla="*/ 176 h 184"/>
              <a:gd name="T36" fmla="*/ 54 w 249"/>
              <a:gd name="T37" fmla="*/ 107 h 184"/>
              <a:gd name="T38" fmla="*/ 194 w 249"/>
              <a:gd name="T39" fmla="*/ 89 h 184"/>
              <a:gd name="T40" fmla="*/ 188 w 249"/>
              <a:gd name="T41" fmla="*/ 118 h 184"/>
              <a:gd name="T42" fmla="*/ 181 w 249"/>
              <a:gd name="T43" fmla="*/ 176 h 184"/>
              <a:gd name="T44" fmla="*/ 177 w 249"/>
              <a:gd name="T45" fmla="*/ 174 h 184"/>
              <a:gd name="T46" fmla="*/ 181 w 249"/>
              <a:gd name="T47" fmla="*/ 112 h 184"/>
              <a:gd name="T48" fmla="*/ 184 w 249"/>
              <a:gd name="T49" fmla="*/ 112 h 184"/>
              <a:gd name="T50" fmla="*/ 192 w 249"/>
              <a:gd name="T51" fmla="*/ 93 h 184"/>
              <a:gd name="T52" fmla="*/ 65 w 249"/>
              <a:gd name="T53" fmla="*/ 114 h 184"/>
              <a:gd name="T54" fmla="*/ 72 w 249"/>
              <a:gd name="T55" fmla="*/ 114 h 184"/>
              <a:gd name="T56" fmla="*/ 182 w 249"/>
              <a:gd name="T57" fmla="*/ 116 h 184"/>
              <a:gd name="T58" fmla="*/ 145 w 249"/>
              <a:gd name="T59" fmla="*/ 116 h 184"/>
              <a:gd name="T60" fmla="*/ 108 w 249"/>
              <a:gd name="T61" fmla="*/ 116 h 184"/>
              <a:gd name="T62" fmla="*/ 71 w 249"/>
              <a:gd name="T63" fmla="*/ 116 h 184"/>
              <a:gd name="T64" fmla="*/ 57 w 249"/>
              <a:gd name="T65" fmla="*/ 90 h 184"/>
              <a:gd name="T66" fmla="*/ 196 w 249"/>
              <a:gd name="T67" fmla="*/ 90 h 184"/>
              <a:gd name="T68" fmla="*/ 182 w 249"/>
              <a:gd name="T69" fmla="*/ 111 h 184"/>
              <a:gd name="T70" fmla="*/ 188 w 249"/>
              <a:gd name="T71" fmla="*/ 114 h 184"/>
              <a:gd name="T72" fmla="*/ 61 w 249"/>
              <a:gd name="T73" fmla="*/ 93 h 184"/>
              <a:gd name="T74" fmla="*/ 69 w 249"/>
              <a:gd name="T75" fmla="*/ 112 h 184"/>
              <a:gd name="T76" fmla="*/ 72 w 249"/>
              <a:gd name="T77" fmla="*/ 112 h 184"/>
              <a:gd name="T78" fmla="*/ 83 w 249"/>
              <a:gd name="T79" fmla="*/ 111 h 184"/>
              <a:gd name="T80" fmla="*/ 97 w 249"/>
              <a:gd name="T81" fmla="*/ 112 h 184"/>
              <a:gd name="T82" fmla="*/ 108 w 249"/>
              <a:gd name="T83" fmla="*/ 111 h 184"/>
              <a:gd name="T84" fmla="*/ 122 w 249"/>
              <a:gd name="T85" fmla="*/ 112 h 184"/>
              <a:gd name="T86" fmla="*/ 133 w 249"/>
              <a:gd name="T87" fmla="*/ 111 h 184"/>
              <a:gd name="T88" fmla="*/ 146 w 249"/>
              <a:gd name="T89" fmla="*/ 112 h 184"/>
              <a:gd name="T90" fmla="*/ 168 w 249"/>
              <a:gd name="T91" fmla="*/ 112 h 184"/>
              <a:gd name="T92" fmla="*/ 182 w 249"/>
              <a:gd name="T93" fmla="*/ 111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49" h="184">
                <a:moveTo>
                  <a:pt x="217" y="73"/>
                </a:moveTo>
                <a:cubicBezTo>
                  <a:pt x="32" y="73"/>
                  <a:pt x="32" y="73"/>
                  <a:pt x="32" y="73"/>
                </a:cubicBezTo>
                <a:cubicBezTo>
                  <a:pt x="32" y="40"/>
                  <a:pt x="32" y="40"/>
                  <a:pt x="32" y="40"/>
                </a:cubicBezTo>
                <a:cubicBezTo>
                  <a:pt x="217" y="40"/>
                  <a:pt x="217" y="40"/>
                  <a:pt x="217" y="40"/>
                </a:cubicBezTo>
                <a:lnTo>
                  <a:pt x="217" y="73"/>
                </a:lnTo>
                <a:close/>
                <a:moveTo>
                  <a:pt x="36" y="69"/>
                </a:moveTo>
                <a:cubicBezTo>
                  <a:pt x="213" y="69"/>
                  <a:pt x="213" y="69"/>
                  <a:pt x="213" y="69"/>
                </a:cubicBezTo>
                <a:cubicBezTo>
                  <a:pt x="213" y="44"/>
                  <a:pt x="213" y="44"/>
                  <a:pt x="213" y="44"/>
                </a:cubicBezTo>
                <a:cubicBezTo>
                  <a:pt x="36" y="44"/>
                  <a:pt x="36" y="44"/>
                  <a:pt x="36" y="44"/>
                </a:cubicBezTo>
                <a:lnTo>
                  <a:pt x="36" y="69"/>
                </a:lnTo>
                <a:close/>
                <a:moveTo>
                  <a:pt x="126" y="176"/>
                </a:moveTo>
                <a:cubicBezTo>
                  <a:pt x="126" y="117"/>
                  <a:pt x="126" y="117"/>
                  <a:pt x="126" y="117"/>
                </a:cubicBezTo>
                <a:cubicBezTo>
                  <a:pt x="126" y="116"/>
                  <a:pt x="126" y="115"/>
                  <a:pt x="124" y="115"/>
                </a:cubicBezTo>
                <a:cubicBezTo>
                  <a:pt x="123" y="115"/>
                  <a:pt x="122" y="116"/>
                  <a:pt x="122" y="117"/>
                </a:cubicBezTo>
                <a:cubicBezTo>
                  <a:pt x="122" y="176"/>
                  <a:pt x="122" y="176"/>
                  <a:pt x="122" y="176"/>
                </a:cubicBezTo>
                <a:cubicBezTo>
                  <a:pt x="122" y="177"/>
                  <a:pt x="123" y="178"/>
                  <a:pt x="124" y="178"/>
                </a:cubicBezTo>
                <a:cubicBezTo>
                  <a:pt x="126" y="178"/>
                  <a:pt x="126" y="177"/>
                  <a:pt x="126" y="176"/>
                </a:cubicBezTo>
                <a:close/>
                <a:moveTo>
                  <a:pt x="115" y="150"/>
                </a:moveTo>
                <a:cubicBezTo>
                  <a:pt x="134" y="150"/>
                  <a:pt x="134" y="150"/>
                  <a:pt x="134" y="150"/>
                </a:cubicBezTo>
                <a:cubicBezTo>
                  <a:pt x="135" y="150"/>
                  <a:pt x="136" y="149"/>
                  <a:pt x="136" y="148"/>
                </a:cubicBezTo>
                <a:cubicBezTo>
                  <a:pt x="136" y="147"/>
                  <a:pt x="135" y="146"/>
                  <a:pt x="134" y="146"/>
                </a:cubicBezTo>
                <a:cubicBezTo>
                  <a:pt x="115" y="146"/>
                  <a:pt x="115" y="146"/>
                  <a:pt x="115" y="146"/>
                </a:cubicBezTo>
                <a:cubicBezTo>
                  <a:pt x="114" y="146"/>
                  <a:pt x="113" y="147"/>
                  <a:pt x="113" y="148"/>
                </a:cubicBezTo>
                <a:cubicBezTo>
                  <a:pt x="113" y="149"/>
                  <a:pt x="114" y="150"/>
                  <a:pt x="115" y="150"/>
                </a:cubicBezTo>
                <a:close/>
                <a:moveTo>
                  <a:pt x="230" y="18"/>
                </a:moveTo>
                <a:cubicBezTo>
                  <a:pt x="227" y="18"/>
                  <a:pt x="227" y="18"/>
                  <a:pt x="227" y="18"/>
                </a:cubicBezTo>
                <a:cubicBezTo>
                  <a:pt x="225" y="8"/>
                  <a:pt x="215" y="0"/>
                  <a:pt x="20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34" y="0"/>
                  <a:pt x="25" y="8"/>
                  <a:pt x="22" y="18"/>
                </a:cubicBezTo>
                <a:cubicBezTo>
                  <a:pt x="19" y="18"/>
                  <a:pt x="19" y="18"/>
                  <a:pt x="19" y="18"/>
                </a:cubicBezTo>
                <a:cubicBezTo>
                  <a:pt x="9" y="18"/>
                  <a:pt x="0" y="27"/>
                  <a:pt x="0" y="37"/>
                </a:cubicBezTo>
                <a:cubicBezTo>
                  <a:pt x="0" y="165"/>
                  <a:pt x="0" y="165"/>
                  <a:pt x="0" y="165"/>
                </a:cubicBezTo>
                <a:cubicBezTo>
                  <a:pt x="0" y="175"/>
                  <a:pt x="9" y="184"/>
                  <a:pt x="19" y="184"/>
                </a:cubicBezTo>
                <a:cubicBezTo>
                  <a:pt x="230" y="184"/>
                  <a:pt x="230" y="184"/>
                  <a:pt x="230" y="184"/>
                </a:cubicBezTo>
                <a:cubicBezTo>
                  <a:pt x="241" y="184"/>
                  <a:pt x="249" y="175"/>
                  <a:pt x="249" y="165"/>
                </a:cubicBezTo>
                <a:cubicBezTo>
                  <a:pt x="249" y="37"/>
                  <a:pt x="249" y="37"/>
                  <a:pt x="249" y="37"/>
                </a:cubicBezTo>
                <a:cubicBezTo>
                  <a:pt x="249" y="27"/>
                  <a:pt x="241" y="18"/>
                  <a:pt x="230" y="18"/>
                </a:cubicBezTo>
                <a:close/>
                <a:moveTo>
                  <a:pt x="45" y="8"/>
                </a:moveTo>
                <a:cubicBezTo>
                  <a:pt x="204" y="8"/>
                  <a:pt x="204" y="8"/>
                  <a:pt x="204" y="8"/>
                </a:cubicBezTo>
                <a:cubicBezTo>
                  <a:pt x="211" y="8"/>
                  <a:pt x="217" y="12"/>
                  <a:pt x="219" y="18"/>
                </a:cubicBezTo>
                <a:cubicBezTo>
                  <a:pt x="31" y="18"/>
                  <a:pt x="31" y="18"/>
                  <a:pt x="31" y="18"/>
                </a:cubicBezTo>
                <a:cubicBezTo>
                  <a:pt x="33" y="12"/>
                  <a:pt x="38" y="8"/>
                  <a:pt x="45" y="8"/>
                </a:cubicBezTo>
                <a:close/>
                <a:moveTo>
                  <a:pt x="241" y="165"/>
                </a:moveTo>
                <a:cubicBezTo>
                  <a:pt x="241" y="171"/>
                  <a:pt x="236" y="176"/>
                  <a:pt x="230" y="176"/>
                </a:cubicBezTo>
                <a:cubicBezTo>
                  <a:pt x="19" y="176"/>
                  <a:pt x="19" y="176"/>
                  <a:pt x="19" y="176"/>
                </a:cubicBezTo>
                <a:cubicBezTo>
                  <a:pt x="13" y="176"/>
                  <a:pt x="8" y="171"/>
                  <a:pt x="8" y="165"/>
                </a:cubicBezTo>
                <a:cubicBezTo>
                  <a:pt x="8" y="37"/>
                  <a:pt x="8" y="37"/>
                  <a:pt x="8" y="37"/>
                </a:cubicBezTo>
                <a:cubicBezTo>
                  <a:pt x="8" y="31"/>
                  <a:pt x="13" y="26"/>
                  <a:pt x="19" y="26"/>
                </a:cubicBezTo>
                <a:cubicBezTo>
                  <a:pt x="230" y="26"/>
                  <a:pt x="230" y="26"/>
                  <a:pt x="230" y="26"/>
                </a:cubicBezTo>
                <a:cubicBezTo>
                  <a:pt x="236" y="26"/>
                  <a:pt x="241" y="31"/>
                  <a:pt x="241" y="37"/>
                </a:cubicBezTo>
                <a:lnTo>
                  <a:pt x="241" y="165"/>
                </a:lnTo>
                <a:close/>
                <a:moveTo>
                  <a:pt x="179" y="178"/>
                </a:moveTo>
                <a:cubicBezTo>
                  <a:pt x="70" y="178"/>
                  <a:pt x="70" y="178"/>
                  <a:pt x="70" y="178"/>
                </a:cubicBezTo>
                <a:cubicBezTo>
                  <a:pt x="69" y="178"/>
                  <a:pt x="68" y="177"/>
                  <a:pt x="68" y="176"/>
                </a:cubicBezTo>
                <a:cubicBezTo>
                  <a:pt x="68" y="117"/>
                  <a:pt x="68" y="117"/>
                  <a:pt x="68" y="117"/>
                </a:cubicBezTo>
                <a:cubicBezTo>
                  <a:pt x="67" y="118"/>
                  <a:pt x="66" y="118"/>
                  <a:pt x="65" y="118"/>
                </a:cubicBezTo>
                <a:cubicBezTo>
                  <a:pt x="59" y="118"/>
                  <a:pt x="54" y="113"/>
                  <a:pt x="54" y="107"/>
                </a:cubicBezTo>
                <a:cubicBezTo>
                  <a:pt x="57" y="90"/>
                  <a:pt x="57" y="90"/>
                  <a:pt x="57" y="90"/>
                </a:cubicBezTo>
                <a:cubicBezTo>
                  <a:pt x="57" y="89"/>
                  <a:pt x="58" y="89"/>
                  <a:pt x="59" y="89"/>
                </a:cubicBezTo>
                <a:cubicBezTo>
                  <a:pt x="194" y="89"/>
                  <a:pt x="194" y="89"/>
                  <a:pt x="194" y="89"/>
                </a:cubicBezTo>
                <a:cubicBezTo>
                  <a:pt x="195" y="89"/>
                  <a:pt x="196" y="89"/>
                  <a:pt x="196" y="90"/>
                </a:cubicBezTo>
                <a:cubicBezTo>
                  <a:pt x="199" y="107"/>
                  <a:pt x="199" y="107"/>
                  <a:pt x="199" y="107"/>
                </a:cubicBezTo>
                <a:cubicBezTo>
                  <a:pt x="199" y="113"/>
                  <a:pt x="194" y="118"/>
                  <a:pt x="188" y="118"/>
                </a:cubicBezTo>
                <a:cubicBezTo>
                  <a:pt x="186" y="118"/>
                  <a:pt x="184" y="117"/>
                  <a:pt x="182" y="116"/>
                </a:cubicBezTo>
                <a:cubicBezTo>
                  <a:pt x="182" y="116"/>
                  <a:pt x="182" y="116"/>
                  <a:pt x="181" y="116"/>
                </a:cubicBezTo>
                <a:cubicBezTo>
                  <a:pt x="181" y="176"/>
                  <a:pt x="181" y="176"/>
                  <a:pt x="181" y="176"/>
                </a:cubicBezTo>
                <a:cubicBezTo>
                  <a:pt x="181" y="177"/>
                  <a:pt x="180" y="178"/>
                  <a:pt x="179" y="178"/>
                </a:cubicBezTo>
                <a:close/>
                <a:moveTo>
                  <a:pt x="72" y="174"/>
                </a:moveTo>
                <a:cubicBezTo>
                  <a:pt x="177" y="174"/>
                  <a:pt x="177" y="174"/>
                  <a:pt x="177" y="174"/>
                </a:cubicBezTo>
                <a:cubicBezTo>
                  <a:pt x="177" y="115"/>
                  <a:pt x="177" y="115"/>
                  <a:pt x="177" y="115"/>
                </a:cubicBezTo>
                <a:cubicBezTo>
                  <a:pt x="177" y="114"/>
                  <a:pt x="178" y="113"/>
                  <a:pt x="178" y="113"/>
                </a:cubicBezTo>
                <a:cubicBezTo>
                  <a:pt x="179" y="113"/>
                  <a:pt x="180" y="112"/>
                  <a:pt x="181" y="112"/>
                </a:cubicBezTo>
                <a:cubicBezTo>
                  <a:pt x="181" y="111"/>
                  <a:pt x="181" y="111"/>
                  <a:pt x="182" y="111"/>
                </a:cubicBezTo>
                <a:cubicBezTo>
                  <a:pt x="182" y="111"/>
                  <a:pt x="182" y="111"/>
                  <a:pt x="182" y="111"/>
                </a:cubicBezTo>
                <a:cubicBezTo>
                  <a:pt x="183" y="111"/>
                  <a:pt x="183" y="111"/>
                  <a:pt x="184" y="112"/>
                </a:cubicBezTo>
                <a:cubicBezTo>
                  <a:pt x="185" y="113"/>
                  <a:pt x="186" y="114"/>
                  <a:pt x="188" y="114"/>
                </a:cubicBezTo>
                <a:cubicBezTo>
                  <a:pt x="192" y="114"/>
                  <a:pt x="195" y="111"/>
                  <a:pt x="195" y="107"/>
                </a:cubicBezTo>
                <a:cubicBezTo>
                  <a:pt x="192" y="93"/>
                  <a:pt x="192" y="93"/>
                  <a:pt x="192" y="93"/>
                </a:cubicBezTo>
                <a:cubicBezTo>
                  <a:pt x="61" y="93"/>
                  <a:pt x="61" y="93"/>
                  <a:pt x="61" y="93"/>
                </a:cubicBezTo>
                <a:cubicBezTo>
                  <a:pt x="58" y="108"/>
                  <a:pt x="58" y="108"/>
                  <a:pt x="58" y="108"/>
                </a:cubicBezTo>
                <a:cubicBezTo>
                  <a:pt x="58" y="111"/>
                  <a:pt x="61" y="114"/>
                  <a:pt x="65" y="114"/>
                </a:cubicBezTo>
                <a:cubicBezTo>
                  <a:pt x="66" y="114"/>
                  <a:pt x="67" y="113"/>
                  <a:pt x="68" y="112"/>
                </a:cubicBezTo>
                <a:cubicBezTo>
                  <a:pt x="69" y="112"/>
                  <a:pt x="70" y="112"/>
                  <a:pt x="71" y="112"/>
                </a:cubicBezTo>
                <a:cubicBezTo>
                  <a:pt x="71" y="113"/>
                  <a:pt x="72" y="113"/>
                  <a:pt x="72" y="114"/>
                </a:cubicBezTo>
                <a:lnTo>
                  <a:pt x="72" y="174"/>
                </a:lnTo>
                <a:close/>
                <a:moveTo>
                  <a:pt x="188" y="118"/>
                </a:moveTo>
                <a:cubicBezTo>
                  <a:pt x="186" y="118"/>
                  <a:pt x="184" y="117"/>
                  <a:pt x="182" y="116"/>
                </a:cubicBezTo>
                <a:cubicBezTo>
                  <a:pt x="178" y="118"/>
                  <a:pt x="173" y="118"/>
                  <a:pt x="170" y="116"/>
                </a:cubicBezTo>
                <a:cubicBezTo>
                  <a:pt x="166" y="118"/>
                  <a:pt x="161" y="118"/>
                  <a:pt x="157" y="116"/>
                </a:cubicBezTo>
                <a:cubicBezTo>
                  <a:pt x="154" y="118"/>
                  <a:pt x="149" y="118"/>
                  <a:pt x="145" y="116"/>
                </a:cubicBezTo>
                <a:cubicBezTo>
                  <a:pt x="141" y="118"/>
                  <a:pt x="136" y="118"/>
                  <a:pt x="133" y="116"/>
                </a:cubicBezTo>
                <a:cubicBezTo>
                  <a:pt x="129" y="118"/>
                  <a:pt x="124" y="118"/>
                  <a:pt x="120" y="116"/>
                </a:cubicBezTo>
                <a:cubicBezTo>
                  <a:pt x="117" y="118"/>
                  <a:pt x="112" y="118"/>
                  <a:pt x="108" y="116"/>
                </a:cubicBezTo>
                <a:cubicBezTo>
                  <a:pt x="104" y="118"/>
                  <a:pt x="99" y="118"/>
                  <a:pt x="96" y="116"/>
                </a:cubicBezTo>
                <a:cubicBezTo>
                  <a:pt x="92" y="118"/>
                  <a:pt x="87" y="118"/>
                  <a:pt x="83" y="116"/>
                </a:cubicBezTo>
                <a:cubicBezTo>
                  <a:pt x="80" y="118"/>
                  <a:pt x="74" y="118"/>
                  <a:pt x="71" y="116"/>
                </a:cubicBezTo>
                <a:cubicBezTo>
                  <a:pt x="69" y="117"/>
                  <a:pt x="67" y="118"/>
                  <a:pt x="65" y="118"/>
                </a:cubicBezTo>
                <a:cubicBezTo>
                  <a:pt x="59" y="118"/>
                  <a:pt x="54" y="113"/>
                  <a:pt x="54" y="107"/>
                </a:cubicBezTo>
                <a:cubicBezTo>
                  <a:pt x="57" y="90"/>
                  <a:pt x="57" y="90"/>
                  <a:pt x="57" y="90"/>
                </a:cubicBezTo>
                <a:cubicBezTo>
                  <a:pt x="57" y="89"/>
                  <a:pt x="58" y="89"/>
                  <a:pt x="59" y="89"/>
                </a:cubicBezTo>
                <a:cubicBezTo>
                  <a:pt x="194" y="89"/>
                  <a:pt x="194" y="89"/>
                  <a:pt x="194" y="89"/>
                </a:cubicBezTo>
                <a:cubicBezTo>
                  <a:pt x="195" y="89"/>
                  <a:pt x="196" y="89"/>
                  <a:pt x="196" y="90"/>
                </a:cubicBezTo>
                <a:cubicBezTo>
                  <a:pt x="199" y="107"/>
                  <a:pt x="199" y="107"/>
                  <a:pt x="199" y="107"/>
                </a:cubicBezTo>
                <a:cubicBezTo>
                  <a:pt x="199" y="113"/>
                  <a:pt x="194" y="118"/>
                  <a:pt x="188" y="118"/>
                </a:cubicBezTo>
                <a:close/>
                <a:moveTo>
                  <a:pt x="182" y="111"/>
                </a:moveTo>
                <a:cubicBezTo>
                  <a:pt x="182" y="111"/>
                  <a:pt x="182" y="111"/>
                  <a:pt x="182" y="111"/>
                </a:cubicBezTo>
                <a:cubicBezTo>
                  <a:pt x="183" y="111"/>
                  <a:pt x="183" y="111"/>
                  <a:pt x="184" y="112"/>
                </a:cubicBezTo>
                <a:cubicBezTo>
                  <a:pt x="185" y="113"/>
                  <a:pt x="186" y="114"/>
                  <a:pt x="188" y="114"/>
                </a:cubicBezTo>
                <a:cubicBezTo>
                  <a:pt x="192" y="114"/>
                  <a:pt x="195" y="111"/>
                  <a:pt x="195" y="107"/>
                </a:cubicBezTo>
                <a:cubicBezTo>
                  <a:pt x="192" y="93"/>
                  <a:pt x="192" y="93"/>
                  <a:pt x="192" y="93"/>
                </a:cubicBezTo>
                <a:cubicBezTo>
                  <a:pt x="61" y="93"/>
                  <a:pt x="61" y="93"/>
                  <a:pt x="61" y="93"/>
                </a:cubicBezTo>
                <a:cubicBezTo>
                  <a:pt x="58" y="108"/>
                  <a:pt x="58" y="108"/>
                  <a:pt x="58" y="108"/>
                </a:cubicBezTo>
                <a:cubicBezTo>
                  <a:pt x="58" y="111"/>
                  <a:pt x="61" y="114"/>
                  <a:pt x="65" y="114"/>
                </a:cubicBezTo>
                <a:cubicBezTo>
                  <a:pt x="67" y="114"/>
                  <a:pt x="68" y="113"/>
                  <a:pt x="69" y="112"/>
                </a:cubicBezTo>
                <a:cubicBezTo>
                  <a:pt x="70" y="111"/>
                  <a:pt x="70" y="111"/>
                  <a:pt x="71" y="111"/>
                </a:cubicBezTo>
                <a:cubicBezTo>
                  <a:pt x="71" y="111"/>
                  <a:pt x="71" y="111"/>
                  <a:pt x="71" y="111"/>
                </a:cubicBezTo>
                <a:cubicBezTo>
                  <a:pt x="71" y="111"/>
                  <a:pt x="72" y="111"/>
                  <a:pt x="72" y="112"/>
                </a:cubicBezTo>
                <a:cubicBezTo>
                  <a:pt x="75" y="114"/>
                  <a:pt x="79" y="114"/>
                  <a:pt x="82" y="112"/>
                </a:cubicBezTo>
                <a:cubicBezTo>
                  <a:pt x="82" y="111"/>
                  <a:pt x="83" y="111"/>
                  <a:pt x="83" y="111"/>
                </a:cubicBezTo>
                <a:cubicBezTo>
                  <a:pt x="83" y="111"/>
                  <a:pt x="83" y="111"/>
                  <a:pt x="83" y="111"/>
                </a:cubicBezTo>
                <a:cubicBezTo>
                  <a:pt x="84" y="111"/>
                  <a:pt x="84" y="111"/>
                  <a:pt x="85" y="112"/>
                </a:cubicBezTo>
                <a:cubicBezTo>
                  <a:pt x="87" y="114"/>
                  <a:pt x="92" y="114"/>
                  <a:pt x="94" y="112"/>
                </a:cubicBezTo>
                <a:cubicBezTo>
                  <a:pt x="95" y="111"/>
                  <a:pt x="96" y="111"/>
                  <a:pt x="97" y="112"/>
                </a:cubicBezTo>
                <a:cubicBezTo>
                  <a:pt x="100" y="114"/>
                  <a:pt x="104" y="114"/>
                  <a:pt x="106" y="112"/>
                </a:cubicBezTo>
                <a:cubicBezTo>
                  <a:pt x="107" y="111"/>
                  <a:pt x="107" y="111"/>
                  <a:pt x="108" y="111"/>
                </a:cubicBezTo>
                <a:cubicBezTo>
                  <a:pt x="108" y="111"/>
                  <a:pt x="108" y="111"/>
                  <a:pt x="108" y="111"/>
                </a:cubicBezTo>
                <a:cubicBezTo>
                  <a:pt x="109" y="111"/>
                  <a:pt x="109" y="111"/>
                  <a:pt x="109" y="112"/>
                </a:cubicBezTo>
                <a:cubicBezTo>
                  <a:pt x="112" y="114"/>
                  <a:pt x="116" y="114"/>
                  <a:pt x="119" y="112"/>
                </a:cubicBezTo>
                <a:cubicBezTo>
                  <a:pt x="120" y="111"/>
                  <a:pt x="121" y="111"/>
                  <a:pt x="122" y="112"/>
                </a:cubicBezTo>
                <a:cubicBezTo>
                  <a:pt x="124" y="114"/>
                  <a:pt x="129" y="114"/>
                  <a:pt x="131" y="112"/>
                </a:cubicBezTo>
                <a:cubicBezTo>
                  <a:pt x="132" y="111"/>
                  <a:pt x="132" y="111"/>
                  <a:pt x="133" y="111"/>
                </a:cubicBezTo>
                <a:cubicBezTo>
                  <a:pt x="133" y="111"/>
                  <a:pt x="133" y="111"/>
                  <a:pt x="133" y="111"/>
                </a:cubicBezTo>
                <a:cubicBezTo>
                  <a:pt x="133" y="111"/>
                  <a:pt x="134" y="111"/>
                  <a:pt x="134" y="112"/>
                </a:cubicBezTo>
                <a:cubicBezTo>
                  <a:pt x="137" y="114"/>
                  <a:pt x="141" y="114"/>
                  <a:pt x="144" y="112"/>
                </a:cubicBezTo>
                <a:cubicBezTo>
                  <a:pt x="144" y="111"/>
                  <a:pt x="146" y="111"/>
                  <a:pt x="146" y="112"/>
                </a:cubicBezTo>
                <a:cubicBezTo>
                  <a:pt x="149" y="114"/>
                  <a:pt x="153" y="114"/>
                  <a:pt x="156" y="112"/>
                </a:cubicBezTo>
                <a:cubicBezTo>
                  <a:pt x="157" y="111"/>
                  <a:pt x="158" y="111"/>
                  <a:pt x="159" y="112"/>
                </a:cubicBezTo>
                <a:cubicBezTo>
                  <a:pt x="161" y="114"/>
                  <a:pt x="166" y="114"/>
                  <a:pt x="168" y="112"/>
                </a:cubicBezTo>
                <a:cubicBezTo>
                  <a:pt x="169" y="111"/>
                  <a:pt x="170" y="111"/>
                  <a:pt x="171" y="112"/>
                </a:cubicBezTo>
                <a:cubicBezTo>
                  <a:pt x="174" y="114"/>
                  <a:pt x="178" y="114"/>
                  <a:pt x="181" y="112"/>
                </a:cubicBezTo>
                <a:cubicBezTo>
                  <a:pt x="181" y="111"/>
                  <a:pt x="181" y="111"/>
                  <a:pt x="182" y="111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2400"/>
          </a:p>
        </p:txBody>
      </p:sp>
      <p:grpSp>
        <p:nvGrpSpPr>
          <p:cNvPr id="76" name="Gruppieren 6"/>
          <p:cNvGrpSpPr/>
          <p:nvPr/>
        </p:nvGrpSpPr>
        <p:grpSpPr>
          <a:xfrm>
            <a:off x="431800" y="5156200"/>
            <a:ext cx="2975901" cy="1057035"/>
            <a:chOff x="323850" y="3867150"/>
            <a:chExt cx="2231926" cy="792776"/>
          </a:xfrm>
        </p:grpSpPr>
        <p:sp>
          <p:nvSpPr>
            <p:cNvPr id="77" name="Rechteck 2305"/>
            <p:cNvSpPr/>
            <p:nvPr/>
          </p:nvSpPr>
          <p:spPr bwMode="gray">
            <a:xfrm>
              <a:off x="323850" y="3867150"/>
              <a:ext cx="2231926" cy="31674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192000" bIns="0" numCol="1" spcCol="0" rtlCol="0" fromWordArt="0" anchor="t" anchorCtr="0" forceAA="0" compatLnSpc="1">
              <a:noAutofit/>
            </a:bodyPr>
            <a:lstStyle/>
            <a:p>
              <a:pPr algn="r">
                <a:spcBef>
                  <a:spcPts val="400"/>
                </a:spcBef>
              </a:pPr>
              <a:r>
                <a:rPr lang="de-DE" sz="1867" b="1">
                  <a:solidFill>
                    <a:schemeClr val="accent3"/>
                  </a:solidFill>
                  <a:latin typeface="Arial" pitchFamily="34" charset="0"/>
                  <a:cs typeface="Arial" pitchFamily="34" charset="0"/>
                </a:rPr>
                <a:t>INSIGHTS </a:t>
              </a:r>
              <a:r>
                <a:rPr lang="de-DE" sz="1867" b="1" dirty="0">
                  <a:solidFill>
                    <a:schemeClr val="accent3"/>
                  </a:solidFill>
                  <a:latin typeface="Arial" pitchFamily="34" charset="0"/>
                  <a:cs typeface="Arial" pitchFamily="34" charset="0"/>
                </a:rPr>
                <a:t>DELIVERY</a:t>
              </a:r>
            </a:p>
          </p:txBody>
        </p:sp>
        <p:sp>
          <p:nvSpPr>
            <p:cNvPr id="78" name="Oval 192"/>
            <p:cNvSpPr/>
            <p:nvPr/>
          </p:nvSpPr>
          <p:spPr bwMode="gray">
            <a:xfrm>
              <a:off x="323850" y="4155926"/>
              <a:ext cx="2231926" cy="504000"/>
            </a:xfrm>
            <a:prstGeom prst="rect">
              <a:avLst/>
            </a:prstGeom>
            <a:noFill/>
            <a:ln w="15875" cap="rnd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192000" bIns="0" numCol="1" spcCol="0" rtlCol="0" fromWordArt="0" anchor="t" anchorCtr="0" forceAA="0" compatLnSpc="1">
              <a:noAutofit/>
            </a:bodyPr>
            <a:lstStyle/>
            <a:p>
              <a:pPr algn="ctr">
                <a:spcBef>
                  <a:spcPts val="400"/>
                </a:spcBef>
              </a:pPr>
              <a:r>
                <a:rPr lang="en-US" sz="1600" dirty="0">
                  <a:solidFill>
                    <a:schemeClr val="accent3"/>
                  </a:solidFill>
                  <a:latin typeface="Arial" pitchFamily="34" charset="0"/>
                  <a:cs typeface="Arial" pitchFamily="34" charset="0"/>
                </a:rPr>
                <a:t>daily, weekly, monthly</a:t>
              </a:r>
            </a:p>
          </p:txBody>
        </p:sp>
      </p:grpSp>
      <p:grpSp>
        <p:nvGrpSpPr>
          <p:cNvPr id="79" name="Gruppieren 55"/>
          <p:cNvGrpSpPr/>
          <p:nvPr/>
        </p:nvGrpSpPr>
        <p:grpSpPr>
          <a:xfrm>
            <a:off x="1967541" y="3957059"/>
            <a:ext cx="1152128" cy="624069"/>
            <a:chOff x="1475656" y="3003798"/>
            <a:chExt cx="864096" cy="468052"/>
          </a:xfrm>
          <a:solidFill>
            <a:schemeClr val="bg1">
              <a:alpha val="62000"/>
            </a:schemeClr>
          </a:solidFill>
        </p:grpSpPr>
        <p:sp>
          <p:nvSpPr>
            <p:cNvPr id="80" name="Rechteck 22"/>
            <p:cNvSpPr/>
            <p:nvPr/>
          </p:nvSpPr>
          <p:spPr bwMode="gray">
            <a:xfrm>
              <a:off x="1475656" y="3075806"/>
              <a:ext cx="72008" cy="252028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1" name="Rechteck 379"/>
            <p:cNvSpPr/>
            <p:nvPr/>
          </p:nvSpPr>
          <p:spPr bwMode="gray">
            <a:xfrm>
              <a:off x="1583668" y="3219822"/>
              <a:ext cx="72008" cy="1080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2" name="Rechteck 380"/>
            <p:cNvSpPr/>
            <p:nvPr/>
          </p:nvSpPr>
          <p:spPr bwMode="gray">
            <a:xfrm>
              <a:off x="1691680" y="3111810"/>
              <a:ext cx="72008" cy="216024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3" name="Rechteck 381"/>
            <p:cNvSpPr/>
            <p:nvPr/>
          </p:nvSpPr>
          <p:spPr bwMode="gray">
            <a:xfrm>
              <a:off x="1799692" y="3003798"/>
              <a:ext cx="72008" cy="324036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84" name="Gruppieren 39"/>
            <p:cNvGrpSpPr/>
            <p:nvPr/>
          </p:nvGrpSpPr>
          <p:grpSpPr>
            <a:xfrm>
              <a:off x="2015716" y="3147814"/>
              <a:ext cx="324036" cy="324036"/>
              <a:chOff x="2015716" y="3219822"/>
              <a:chExt cx="324036" cy="324036"/>
            </a:xfrm>
            <a:grpFill/>
          </p:grpSpPr>
          <p:sp>
            <p:nvSpPr>
              <p:cNvPr id="85" name="Kreis 32"/>
              <p:cNvSpPr/>
              <p:nvPr/>
            </p:nvSpPr>
            <p:spPr bwMode="gray">
              <a:xfrm>
                <a:off x="2015716" y="3255826"/>
                <a:ext cx="288032" cy="288032"/>
              </a:xfrm>
              <a:prstGeom prst="pie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400"/>
                  </a:spcBef>
                </a:pPr>
                <a:endParaRPr lang="en-GB" sz="2133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6" name="Kreis 384"/>
              <p:cNvSpPr/>
              <p:nvPr/>
            </p:nvSpPr>
            <p:spPr bwMode="gray">
              <a:xfrm>
                <a:off x="2051720" y="3219822"/>
                <a:ext cx="288032" cy="288032"/>
              </a:xfrm>
              <a:prstGeom prst="pie">
                <a:avLst>
                  <a:gd name="adj1" fmla="val 16295517"/>
                  <a:gd name="adj2" fmla="val 21460372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400"/>
                  </a:spcBef>
                </a:pPr>
                <a:endParaRPr lang="en-GB" sz="2133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87" name="Gruppieren 44"/>
          <p:cNvGrpSpPr/>
          <p:nvPr/>
        </p:nvGrpSpPr>
        <p:grpSpPr>
          <a:xfrm rot="5400000">
            <a:off x="1991544" y="3356992"/>
            <a:ext cx="384043" cy="432048"/>
            <a:chOff x="1583668" y="2535746"/>
            <a:chExt cx="288032" cy="324036"/>
          </a:xfrm>
          <a:solidFill>
            <a:schemeClr val="bg1">
              <a:alpha val="65000"/>
            </a:schemeClr>
          </a:solidFill>
        </p:grpSpPr>
        <p:sp>
          <p:nvSpPr>
            <p:cNvPr id="88" name="Rechteck 388"/>
            <p:cNvSpPr/>
            <p:nvPr/>
          </p:nvSpPr>
          <p:spPr bwMode="gray">
            <a:xfrm>
              <a:off x="1583668" y="2751770"/>
              <a:ext cx="72008" cy="108012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9" name="Rechteck 389"/>
            <p:cNvSpPr/>
            <p:nvPr/>
          </p:nvSpPr>
          <p:spPr bwMode="gray">
            <a:xfrm>
              <a:off x="1691680" y="2643758"/>
              <a:ext cx="72008" cy="216024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0" name="Rechteck 390"/>
            <p:cNvSpPr/>
            <p:nvPr/>
          </p:nvSpPr>
          <p:spPr bwMode="gray">
            <a:xfrm>
              <a:off x="1799692" y="2535746"/>
              <a:ext cx="72008" cy="324036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91" name="Gerade Verbindung 391"/>
          <p:cNvCxnSpPr/>
          <p:nvPr/>
        </p:nvCxnSpPr>
        <p:spPr>
          <a:xfrm flipV="1">
            <a:off x="1871531" y="3380995"/>
            <a:ext cx="0" cy="1008112"/>
          </a:xfrm>
          <a:prstGeom prst="line">
            <a:avLst/>
          </a:prstGeom>
          <a:ln>
            <a:solidFill>
              <a:schemeClr val="bg1">
                <a:alpha val="58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Gruppieren 47"/>
          <p:cNvGrpSpPr/>
          <p:nvPr/>
        </p:nvGrpSpPr>
        <p:grpSpPr>
          <a:xfrm>
            <a:off x="1199456" y="3380995"/>
            <a:ext cx="528059" cy="480053"/>
            <a:chOff x="899592" y="2679762"/>
            <a:chExt cx="396044" cy="360040"/>
          </a:xfrm>
        </p:grpSpPr>
        <p:cxnSp>
          <p:nvCxnSpPr>
            <p:cNvPr id="93" name="Gerade Verbindung 392"/>
            <p:cNvCxnSpPr/>
            <p:nvPr/>
          </p:nvCxnSpPr>
          <p:spPr>
            <a:xfrm>
              <a:off x="899592" y="2679762"/>
              <a:ext cx="396044" cy="0"/>
            </a:xfrm>
            <a:prstGeom prst="line">
              <a:avLst/>
            </a:prstGeom>
            <a:ln w="22225">
              <a:solidFill>
                <a:schemeClr val="bg1">
                  <a:alpha val="66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393"/>
            <p:cNvCxnSpPr/>
            <p:nvPr/>
          </p:nvCxnSpPr>
          <p:spPr>
            <a:xfrm>
              <a:off x="899592" y="2751770"/>
              <a:ext cx="396044" cy="0"/>
            </a:xfrm>
            <a:prstGeom prst="line">
              <a:avLst/>
            </a:prstGeom>
            <a:ln w="22225">
              <a:solidFill>
                <a:schemeClr val="bg1">
                  <a:alpha val="66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394"/>
            <p:cNvCxnSpPr/>
            <p:nvPr/>
          </p:nvCxnSpPr>
          <p:spPr>
            <a:xfrm>
              <a:off x="899592" y="2823778"/>
              <a:ext cx="360000" cy="0"/>
            </a:xfrm>
            <a:prstGeom prst="line">
              <a:avLst/>
            </a:prstGeom>
            <a:ln w="22225">
              <a:solidFill>
                <a:schemeClr val="bg1">
                  <a:alpha val="66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395"/>
            <p:cNvCxnSpPr/>
            <p:nvPr/>
          </p:nvCxnSpPr>
          <p:spPr>
            <a:xfrm>
              <a:off x="899592" y="2895786"/>
              <a:ext cx="288000" cy="0"/>
            </a:xfrm>
            <a:prstGeom prst="line">
              <a:avLst/>
            </a:prstGeom>
            <a:ln w="22225">
              <a:solidFill>
                <a:schemeClr val="bg1">
                  <a:alpha val="66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396"/>
            <p:cNvCxnSpPr/>
            <p:nvPr/>
          </p:nvCxnSpPr>
          <p:spPr>
            <a:xfrm>
              <a:off x="899592" y="2967794"/>
              <a:ext cx="396044" cy="0"/>
            </a:xfrm>
            <a:prstGeom prst="line">
              <a:avLst/>
            </a:prstGeom>
            <a:ln w="22225">
              <a:solidFill>
                <a:schemeClr val="bg1">
                  <a:alpha val="66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397"/>
            <p:cNvCxnSpPr/>
            <p:nvPr/>
          </p:nvCxnSpPr>
          <p:spPr>
            <a:xfrm>
              <a:off x="899592" y="3039802"/>
              <a:ext cx="180000" cy="0"/>
            </a:xfrm>
            <a:prstGeom prst="line">
              <a:avLst/>
            </a:prstGeom>
            <a:ln w="22225">
              <a:solidFill>
                <a:schemeClr val="bg1">
                  <a:alpha val="66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9" name="Gruppieren 398"/>
          <p:cNvGrpSpPr/>
          <p:nvPr/>
        </p:nvGrpSpPr>
        <p:grpSpPr>
          <a:xfrm>
            <a:off x="1199456" y="4053069"/>
            <a:ext cx="480000" cy="96011"/>
            <a:chOff x="899592" y="2823778"/>
            <a:chExt cx="360000" cy="72008"/>
          </a:xfrm>
        </p:grpSpPr>
        <p:cxnSp>
          <p:nvCxnSpPr>
            <p:cNvPr id="100" name="Gerade Verbindung 401"/>
            <p:cNvCxnSpPr/>
            <p:nvPr/>
          </p:nvCxnSpPr>
          <p:spPr>
            <a:xfrm>
              <a:off x="899592" y="2823778"/>
              <a:ext cx="360000" cy="0"/>
            </a:xfrm>
            <a:prstGeom prst="line">
              <a:avLst/>
            </a:prstGeom>
            <a:ln w="22225">
              <a:solidFill>
                <a:schemeClr val="bg1">
                  <a:alpha val="66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409"/>
            <p:cNvCxnSpPr/>
            <p:nvPr/>
          </p:nvCxnSpPr>
          <p:spPr>
            <a:xfrm>
              <a:off x="899592" y="2895786"/>
              <a:ext cx="288000" cy="0"/>
            </a:xfrm>
            <a:prstGeom prst="line">
              <a:avLst/>
            </a:prstGeom>
            <a:ln w="22225">
              <a:solidFill>
                <a:schemeClr val="bg1">
                  <a:alpha val="66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" name="Group 17"/>
          <p:cNvGrpSpPr>
            <a:grpSpLocks noChangeAspect="1"/>
          </p:cNvGrpSpPr>
          <p:nvPr/>
        </p:nvGrpSpPr>
        <p:grpSpPr bwMode="auto">
          <a:xfrm>
            <a:off x="2927648" y="1940899"/>
            <a:ext cx="911160" cy="576000"/>
            <a:chOff x="2086" y="2051"/>
            <a:chExt cx="541" cy="342"/>
          </a:xfrm>
        </p:grpSpPr>
        <p:sp>
          <p:nvSpPr>
            <p:cNvPr id="103" name="Freeform 18"/>
            <p:cNvSpPr>
              <a:spLocks noEditPoints="1"/>
            </p:cNvSpPr>
            <p:nvPr/>
          </p:nvSpPr>
          <p:spPr bwMode="auto">
            <a:xfrm>
              <a:off x="2152" y="2051"/>
              <a:ext cx="45" cy="342"/>
            </a:xfrm>
            <a:custGeom>
              <a:avLst/>
              <a:gdLst>
                <a:gd name="T0" fmla="*/ 0 w 45"/>
                <a:gd name="T1" fmla="*/ 342 h 342"/>
                <a:gd name="T2" fmla="*/ 45 w 45"/>
                <a:gd name="T3" fmla="*/ 342 h 342"/>
                <a:gd name="T4" fmla="*/ 45 w 45"/>
                <a:gd name="T5" fmla="*/ 2 h 342"/>
                <a:gd name="T6" fmla="*/ 0 w 45"/>
                <a:gd name="T7" fmla="*/ 0 h 342"/>
                <a:gd name="T8" fmla="*/ 0 w 45"/>
                <a:gd name="T9" fmla="*/ 342 h 342"/>
                <a:gd name="T10" fmla="*/ 12 w 45"/>
                <a:gd name="T11" fmla="*/ 14 h 342"/>
                <a:gd name="T12" fmla="*/ 33 w 45"/>
                <a:gd name="T13" fmla="*/ 14 h 342"/>
                <a:gd name="T14" fmla="*/ 33 w 45"/>
                <a:gd name="T15" fmla="*/ 330 h 342"/>
                <a:gd name="T16" fmla="*/ 12 w 45"/>
                <a:gd name="T17" fmla="*/ 330 h 342"/>
                <a:gd name="T18" fmla="*/ 12 w 45"/>
                <a:gd name="T19" fmla="*/ 14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42">
                  <a:moveTo>
                    <a:pt x="0" y="342"/>
                  </a:moveTo>
                  <a:lnTo>
                    <a:pt x="45" y="342"/>
                  </a:lnTo>
                  <a:lnTo>
                    <a:pt x="45" y="2"/>
                  </a:lnTo>
                  <a:lnTo>
                    <a:pt x="0" y="0"/>
                  </a:lnTo>
                  <a:lnTo>
                    <a:pt x="0" y="342"/>
                  </a:lnTo>
                  <a:close/>
                  <a:moveTo>
                    <a:pt x="12" y="14"/>
                  </a:moveTo>
                  <a:lnTo>
                    <a:pt x="33" y="14"/>
                  </a:lnTo>
                  <a:lnTo>
                    <a:pt x="33" y="330"/>
                  </a:lnTo>
                  <a:lnTo>
                    <a:pt x="12" y="330"/>
                  </a:lnTo>
                  <a:lnTo>
                    <a:pt x="12" y="14"/>
                  </a:lnTo>
                  <a:close/>
                </a:path>
              </a:pathLst>
            </a:custGeom>
            <a:solidFill>
              <a:srgbClr val="928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04" name="Freeform 19"/>
            <p:cNvSpPr>
              <a:spLocks noEditPoints="1"/>
            </p:cNvSpPr>
            <p:nvPr/>
          </p:nvSpPr>
          <p:spPr bwMode="auto">
            <a:xfrm>
              <a:off x="2086" y="2051"/>
              <a:ext cx="45" cy="342"/>
            </a:xfrm>
            <a:custGeom>
              <a:avLst/>
              <a:gdLst>
                <a:gd name="T0" fmla="*/ 0 w 45"/>
                <a:gd name="T1" fmla="*/ 342 h 342"/>
                <a:gd name="T2" fmla="*/ 45 w 45"/>
                <a:gd name="T3" fmla="*/ 342 h 342"/>
                <a:gd name="T4" fmla="*/ 45 w 45"/>
                <a:gd name="T5" fmla="*/ 2 h 342"/>
                <a:gd name="T6" fmla="*/ 0 w 45"/>
                <a:gd name="T7" fmla="*/ 0 h 342"/>
                <a:gd name="T8" fmla="*/ 0 w 45"/>
                <a:gd name="T9" fmla="*/ 342 h 342"/>
                <a:gd name="T10" fmla="*/ 12 w 45"/>
                <a:gd name="T11" fmla="*/ 14 h 342"/>
                <a:gd name="T12" fmla="*/ 33 w 45"/>
                <a:gd name="T13" fmla="*/ 14 h 342"/>
                <a:gd name="T14" fmla="*/ 33 w 45"/>
                <a:gd name="T15" fmla="*/ 330 h 342"/>
                <a:gd name="T16" fmla="*/ 12 w 45"/>
                <a:gd name="T17" fmla="*/ 330 h 342"/>
                <a:gd name="T18" fmla="*/ 12 w 45"/>
                <a:gd name="T19" fmla="*/ 14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342">
                  <a:moveTo>
                    <a:pt x="0" y="342"/>
                  </a:moveTo>
                  <a:lnTo>
                    <a:pt x="45" y="342"/>
                  </a:lnTo>
                  <a:lnTo>
                    <a:pt x="45" y="2"/>
                  </a:lnTo>
                  <a:lnTo>
                    <a:pt x="0" y="0"/>
                  </a:lnTo>
                  <a:lnTo>
                    <a:pt x="0" y="342"/>
                  </a:lnTo>
                  <a:close/>
                  <a:moveTo>
                    <a:pt x="12" y="14"/>
                  </a:moveTo>
                  <a:lnTo>
                    <a:pt x="33" y="14"/>
                  </a:lnTo>
                  <a:lnTo>
                    <a:pt x="33" y="330"/>
                  </a:lnTo>
                  <a:lnTo>
                    <a:pt x="12" y="330"/>
                  </a:lnTo>
                  <a:lnTo>
                    <a:pt x="12" y="14"/>
                  </a:lnTo>
                  <a:close/>
                </a:path>
              </a:pathLst>
            </a:custGeom>
            <a:solidFill>
              <a:srgbClr val="928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05" name="Freeform 20"/>
            <p:cNvSpPr>
              <a:spLocks noEditPoints="1"/>
            </p:cNvSpPr>
            <p:nvPr/>
          </p:nvSpPr>
          <p:spPr bwMode="auto">
            <a:xfrm>
              <a:off x="2221" y="2082"/>
              <a:ext cx="406" cy="311"/>
            </a:xfrm>
            <a:custGeom>
              <a:avLst/>
              <a:gdLst>
                <a:gd name="T0" fmla="*/ 262 w 406"/>
                <a:gd name="T1" fmla="*/ 0 h 311"/>
                <a:gd name="T2" fmla="*/ 262 w 406"/>
                <a:gd name="T3" fmla="*/ 66 h 311"/>
                <a:gd name="T4" fmla="*/ 130 w 406"/>
                <a:gd name="T5" fmla="*/ 0 h 311"/>
                <a:gd name="T6" fmla="*/ 130 w 406"/>
                <a:gd name="T7" fmla="*/ 66 h 311"/>
                <a:gd name="T8" fmla="*/ 0 w 406"/>
                <a:gd name="T9" fmla="*/ 0 h 311"/>
                <a:gd name="T10" fmla="*/ 0 w 406"/>
                <a:gd name="T11" fmla="*/ 311 h 311"/>
                <a:gd name="T12" fmla="*/ 406 w 406"/>
                <a:gd name="T13" fmla="*/ 311 h 311"/>
                <a:gd name="T14" fmla="*/ 406 w 406"/>
                <a:gd name="T15" fmla="*/ 73 h 311"/>
                <a:gd name="T16" fmla="*/ 262 w 406"/>
                <a:gd name="T17" fmla="*/ 0 h 311"/>
                <a:gd name="T18" fmla="*/ 394 w 406"/>
                <a:gd name="T19" fmla="*/ 299 h 311"/>
                <a:gd name="T20" fmla="*/ 11 w 406"/>
                <a:gd name="T21" fmla="*/ 299 h 311"/>
                <a:gd name="T22" fmla="*/ 11 w 406"/>
                <a:gd name="T23" fmla="*/ 19 h 311"/>
                <a:gd name="T24" fmla="*/ 142 w 406"/>
                <a:gd name="T25" fmla="*/ 85 h 311"/>
                <a:gd name="T26" fmla="*/ 142 w 406"/>
                <a:gd name="T27" fmla="*/ 19 h 311"/>
                <a:gd name="T28" fmla="*/ 274 w 406"/>
                <a:gd name="T29" fmla="*/ 85 h 311"/>
                <a:gd name="T30" fmla="*/ 274 w 406"/>
                <a:gd name="T31" fmla="*/ 19 h 311"/>
                <a:gd name="T32" fmla="*/ 394 w 406"/>
                <a:gd name="T33" fmla="*/ 80 h 311"/>
                <a:gd name="T34" fmla="*/ 394 w 406"/>
                <a:gd name="T35" fmla="*/ 29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6" h="311">
                  <a:moveTo>
                    <a:pt x="262" y="0"/>
                  </a:moveTo>
                  <a:lnTo>
                    <a:pt x="262" y="66"/>
                  </a:lnTo>
                  <a:lnTo>
                    <a:pt x="130" y="0"/>
                  </a:lnTo>
                  <a:lnTo>
                    <a:pt x="130" y="66"/>
                  </a:lnTo>
                  <a:lnTo>
                    <a:pt x="0" y="0"/>
                  </a:lnTo>
                  <a:lnTo>
                    <a:pt x="0" y="311"/>
                  </a:lnTo>
                  <a:lnTo>
                    <a:pt x="406" y="311"/>
                  </a:lnTo>
                  <a:lnTo>
                    <a:pt x="406" y="73"/>
                  </a:lnTo>
                  <a:lnTo>
                    <a:pt x="262" y="0"/>
                  </a:lnTo>
                  <a:close/>
                  <a:moveTo>
                    <a:pt x="394" y="299"/>
                  </a:moveTo>
                  <a:lnTo>
                    <a:pt x="11" y="299"/>
                  </a:lnTo>
                  <a:lnTo>
                    <a:pt x="11" y="19"/>
                  </a:lnTo>
                  <a:lnTo>
                    <a:pt x="142" y="85"/>
                  </a:lnTo>
                  <a:lnTo>
                    <a:pt x="142" y="19"/>
                  </a:lnTo>
                  <a:lnTo>
                    <a:pt x="274" y="85"/>
                  </a:lnTo>
                  <a:lnTo>
                    <a:pt x="274" y="19"/>
                  </a:lnTo>
                  <a:lnTo>
                    <a:pt x="394" y="80"/>
                  </a:lnTo>
                  <a:lnTo>
                    <a:pt x="394" y="299"/>
                  </a:lnTo>
                  <a:close/>
                </a:path>
              </a:pathLst>
            </a:custGeom>
            <a:solidFill>
              <a:srgbClr val="928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06" name="Freeform 21"/>
            <p:cNvSpPr>
              <a:spLocks/>
            </p:cNvSpPr>
            <p:nvPr/>
          </p:nvSpPr>
          <p:spPr bwMode="auto">
            <a:xfrm>
              <a:off x="2268" y="2214"/>
              <a:ext cx="106" cy="118"/>
            </a:xfrm>
            <a:custGeom>
              <a:avLst/>
              <a:gdLst>
                <a:gd name="T0" fmla="*/ 42 w 45"/>
                <a:gd name="T1" fmla="*/ 12 h 50"/>
                <a:gd name="T2" fmla="*/ 39 w 45"/>
                <a:gd name="T3" fmla="*/ 16 h 50"/>
                <a:gd name="T4" fmla="*/ 39 w 45"/>
                <a:gd name="T5" fmla="*/ 44 h 50"/>
                <a:gd name="T6" fmla="*/ 6 w 45"/>
                <a:gd name="T7" fmla="*/ 44 h 50"/>
                <a:gd name="T8" fmla="*/ 6 w 45"/>
                <a:gd name="T9" fmla="*/ 7 h 50"/>
                <a:gd name="T10" fmla="*/ 37 w 45"/>
                <a:gd name="T11" fmla="*/ 7 h 50"/>
                <a:gd name="T12" fmla="*/ 41 w 45"/>
                <a:gd name="T13" fmla="*/ 3 h 50"/>
                <a:gd name="T14" fmla="*/ 37 w 45"/>
                <a:gd name="T15" fmla="*/ 0 h 50"/>
                <a:gd name="T16" fmla="*/ 3 w 45"/>
                <a:gd name="T17" fmla="*/ 0 h 50"/>
                <a:gd name="T18" fmla="*/ 0 w 45"/>
                <a:gd name="T19" fmla="*/ 3 h 50"/>
                <a:gd name="T20" fmla="*/ 0 w 45"/>
                <a:gd name="T21" fmla="*/ 47 h 50"/>
                <a:gd name="T22" fmla="*/ 3 w 45"/>
                <a:gd name="T23" fmla="*/ 50 h 50"/>
                <a:gd name="T24" fmla="*/ 42 w 45"/>
                <a:gd name="T25" fmla="*/ 50 h 50"/>
                <a:gd name="T26" fmla="*/ 45 w 45"/>
                <a:gd name="T27" fmla="*/ 47 h 50"/>
                <a:gd name="T28" fmla="*/ 45 w 45"/>
                <a:gd name="T29" fmla="*/ 16 h 50"/>
                <a:gd name="T30" fmla="*/ 42 w 45"/>
                <a:gd name="T31" fmla="*/ 1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5" h="50">
                  <a:moveTo>
                    <a:pt x="42" y="12"/>
                  </a:moveTo>
                  <a:cubicBezTo>
                    <a:pt x="40" y="12"/>
                    <a:pt x="39" y="14"/>
                    <a:pt x="39" y="16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9" y="7"/>
                    <a:pt x="41" y="5"/>
                    <a:pt x="41" y="3"/>
                  </a:cubicBezTo>
                  <a:cubicBezTo>
                    <a:pt x="41" y="2"/>
                    <a:pt x="39" y="0"/>
                    <a:pt x="37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9"/>
                    <a:pt x="1" y="50"/>
                    <a:pt x="3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4" y="50"/>
                    <a:pt x="45" y="49"/>
                    <a:pt x="45" y="47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4"/>
                    <a:pt x="44" y="12"/>
                    <a:pt x="42" y="12"/>
                  </a:cubicBezTo>
                  <a:close/>
                </a:path>
              </a:pathLst>
            </a:custGeom>
            <a:solidFill>
              <a:srgbClr val="928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07" name="Freeform 22"/>
            <p:cNvSpPr>
              <a:spLocks/>
            </p:cNvSpPr>
            <p:nvPr/>
          </p:nvSpPr>
          <p:spPr bwMode="auto">
            <a:xfrm>
              <a:off x="2396" y="2214"/>
              <a:ext cx="108" cy="118"/>
            </a:xfrm>
            <a:custGeom>
              <a:avLst/>
              <a:gdLst>
                <a:gd name="T0" fmla="*/ 39 w 46"/>
                <a:gd name="T1" fmla="*/ 16 h 50"/>
                <a:gd name="T2" fmla="*/ 39 w 46"/>
                <a:gd name="T3" fmla="*/ 44 h 50"/>
                <a:gd name="T4" fmla="*/ 6 w 46"/>
                <a:gd name="T5" fmla="*/ 44 h 50"/>
                <a:gd name="T6" fmla="*/ 6 w 46"/>
                <a:gd name="T7" fmla="*/ 7 h 50"/>
                <a:gd name="T8" fmla="*/ 38 w 46"/>
                <a:gd name="T9" fmla="*/ 7 h 50"/>
                <a:gd name="T10" fmla="*/ 41 w 46"/>
                <a:gd name="T11" fmla="*/ 3 h 50"/>
                <a:gd name="T12" fmla="*/ 38 w 46"/>
                <a:gd name="T13" fmla="*/ 0 h 50"/>
                <a:gd name="T14" fmla="*/ 3 w 46"/>
                <a:gd name="T15" fmla="*/ 0 h 50"/>
                <a:gd name="T16" fmla="*/ 0 w 46"/>
                <a:gd name="T17" fmla="*/ 3 h 50"/>
                <a:gd name="T18" fmla="*/ 0 w 46"/>
                <a:gd name="T19" fmla="*/ 47 h 50"/>
                <a:gd name="T20" fmla="*/ 3 w 46"/>
                <a:gd name="T21" fmla="*/ 50 h 50"/>
                <a:gd name="T22" fmla="*/ 42 w 46"/>
                <a:gd name="T23" fmla="*/ 50 h 50"/>
                <a:gd name="T24" fmla="*/ 46 w 46"/>
                <a:gd name="T25" fmla="*/ 47 h 50"/>
                <a:gd name="T26" fmla="*/ 46 w 46"/>
                <a:gd name="T27" fmla="*/ 16 h 50"/>
                <a:gd name="T28" fmla="*/ 42 w 46"/>
                <a:gd name="T29" fmla="*/ 12 h 50"/>
                <a:gd name="T30" fmla="*/ 39 w 46"/>
                <a:gd name="T31" fmla="*/ 1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" h="50">
                  <a:moveTo>
                    <a:pt x="39" y="16"/>
                  </a:moveTo>
                  <a:cubicBezTo>
                    <a:pt x="39" y="44"/>
                    <a:pt x="39" y="44"/>
                    <a:pt x="39" y="44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40" y="7"/>
                    <a:pt x="41" y="5"/>
                    <a:pt x="41" y="3"/>
                  </a:cubicBezTo>
                  <a:cubicBezTo>
                    <a:pt x="41" y="2"/>
                    <a:pt x="40" y="0"/>
                    <a:pt x="38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9"/>
                    <a:pt x="1" y="50"/>
                    <a:pt x="3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4" y="50"/>
                    <a:pt x="46" y="49"/>
                    <a:pt x="46" y="47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4"/>
                    <a:pt x="44" y="12"/>
                    <a:pt x="42" y="12"/>
                  </a:cubicBezTo>
                  <a:cubicBezTo>
                    <a:pt x="41" y="12"/>
                    <a:pt x="39" y="14"/>
                    <a:pt x="39" y="16"/>
                  </a:cubicBezTo>
                  <a:close/>
                </a:path>
              </a:pathLst>
            </a:custGeom>
            <a:solidFill>
              <a:srgbClr val="9285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</p:grpSp>
      <p:sp>
        <p:nvSpPr>
          <p:cNvPr id="108" name="Rechteck 2305"/>
          <p:cNvSpPr/>
          <p:nvPr/>
        </p:nvSpPr>
        <p:spPr bwMode="gray">
          <a:xfrm rot="21120000">
            <a:off x="3445217" y="2633891"/>
            <a:ext cx="967399" cy="228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ts val="400"/>
              </a:spcBef>
            </a:pPr>
            <a:r>
              <a:rPr lang="en-GB" sz="1333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tailers</a:t>
            </a:r>
            <a:endParaRPr lang="de-DE" sz="1333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Freeform 96"/>
          <p:cNvSpPr>
            <a:spLocks noEditPoints="1"/>
          </p:cNvSpPr>
          <p:nvPr/>
        </p:nvSpPr>
        <p:spPr bwMode="auto">
          <a:xfrm>
            <a:off x="6096001" y="2708920"/>
            <a:ext cx="332881" cy="240027"/>
          </a:xfrm>
          <a:custGeom>
            <a:avLst/>
            <a:gdLst>
              <a:gd name="T0" fmla="*/ 172 w 250"/>
              <a:gd name="T1" fmla="*/ 100 h 181"/>
              <a:gd name="T2" fmla="*/ 210 w 250"/>
              <a:gd name="T3" fmla="*/ 62 h 181"/>
              <a:gd name="T4" fmla="*/ 176 w 250"/>
              <a:gd name="T5" fmla="*/ 96 h 181"/>
              <a:gd name="T6" fmla="*/ 207 w 250"/>
              <a:gd name="T7" fmla="*/ 66 h 181"/>
              <a:gd name="T8" fmla="*/ 176 w 250"/>
              <a:gd name="T9" fmla="*/ 96 h 181"/>
              <a:gd name="T10" fmla="*/ 113 w 250"/>
              <a:gd name="T11" fmla="*/ 61 h 181"/>
              <a:gd name="T12" fmla="*/ 34 w 250"/>
              <a:gd name="T13" fmla="*/ 57 h 181"/>
              <a:gd name="T14" fmla="*/ 34 w 250"/>
              <a:gd name="T15" fmla="*/ 83 h 181"/>
              <a:gd name="T16" fmla="*/ 113 w 250"/>
              <a:gd name="T17" fmla="*/ 79 h 181"/>
              <a:gd name="T18" fmla="*/ 34 w 250"/>
              <a:gd name="T19" fmla="*/ 83 h 181"/>
              <a:gd name="T20" fmla="*/ 113 w 250"/>
              <a:gd name="T21" fmla="*/ 38 h 181"/>
              <a:gd name="T22" fmla="*/ 34 w 250"/>
              <a:gd name="T23" fmla="*/ 34 h 181"/>
              <a:gd name="T24" fmla="*/ 186 w 250"/>
              <a:gd name="T25" fmla="*/ 181 h 181"/>
              <a:gd name="T26" fmla="*/ 186 w 250"/>
              <a:gd name="T27" fmla="*/ 144 h 181"/>
              <a:gd name="T28" fmla="*/ 186 w 250"/>
              <a:gd name="T29" fmla="*/ 181 h 181"/>
              <a:gd name="T30" fmla="*/ 171 w 250"/>
              <a:gd name="T31" fmla="*/ 162 h 181"/>
              <a:gd name="T32" fmla="*/ 202 w 250"/>
              <a:gd name="T33" fmla="*/ 162 h 181"/>
              <a:gd name="T34" fmla="*/ 19 w 250"/>
              <a:gd name="T35" fmla="*/ 0 h 181"/>
              <a:gd name="T36" fmla="*/ 0 w 250"/>
              <a:gd name="T37" fmla="*/ 139 h 181"/>
              <a:gd name="T38" fmla="*/ 36 w 250"/>
              <a:gd name="T39" fmla="*/ 158 h 181"/>
              <a:gd name="T40" fmla="*/ 61 w 250"/>
              <a:gd name="T41" fmla="*/ 136 h 181"/>
              <a:gd name="T42" fmla="*/ 86 w 250"/>
              <a:gd name="T43" fmla="*/ 158 h 181"/>
              <a:gd name="T44" fmla="*/ 162 w 250"/>
              <a:gd name="T45" fmla="*/ 155 h 181"/>
              <a:gd name="T46" fmla="*/ 211 w 250"/>
              <a:gd name="T47" fmla="*/ 155 h 181"/>
              <a:gd name="T48" fmla="*/ 230 w 250"/>
              <a:gd name="T49" fmla="*/ 158 h 181"/>
              <a:gd name="T50" fmla="*/ 249 w 250"/>
              <a:gd name="T51" fmla="*/ 138 h 181"/>
              <a:gd name="T52" fmla="*/ 208 w 250"/>
              <a:gd name="T53" fmla="*/ 41 h 181"/>
              <a:gd name="T54" fmla="*/ 175 w 250"/>
              <a:gd name="T55" fmla="*/ 19 h 181"/>
              <a:gd name="T56" fmla="*/ 50 w 250"/>
              <a:gd name="T57" fmla="*/ 0 h 181"/>
              <a:gd name="T58" fmla="*/ 46 w 250"/>
              <a:gd name="T59" fmla="*/ 4 h 181"/>
              <a:gd name="T60" fmla="*/ 50 w 250"/>
              <a:gd name="T61" fmla="*/ 8 h 181"/>
              <a:gd name="T62" fmla="*/ 167 w 250"/>
              <a:gd name="T63" fmla="*/ 19 h 181"/>
              <a:gd name="T64" fmla="*/ 208 w 250"/>
              <a:gd name="T65" fmla="*/ 49 h 181"/>
              <a:gd name="T66" fmla="*/ 241 w 250"/>
              <a:gd name="T67" fmla="*/ 140 h 181"/>
              <a:gd name="T68" fmla="*/ 230 w 250"/>
              <a:gd name="T69" fmla="*/ 150 h 181"/>
              <a:gd name="T70" fmla="*/ 186 w 250"/>
              <a:gd name="T71" fmla="*/ 128 h 181"/>
              <a:gd name="T72" fmla="*/ 92 w 250"/>
              <a:gd name="T73" fmla="*/ 150 h 181"/>
              <a:gd name="T74" fmla="*/ 30 w 250"/>
              <a:gd name="T75" fmla="*/ 150 h 181"/>
              <a:gd name="T76" fmla="*/ 8 w 250"/>
              <a:gd name="T77" fmla="*/ 139 h 181"/>
              <a:gd name="T78" fmla="*/ 19 w 250"/>
              <a:gd name="T79" fmla="*/ 8 h 181"/>
              <a:gd name="T80" fmla="*/ 31 w 250"/>
              <a:gd name="T81" fmla="*/ 4 h 181"/>
              <a:gd name="T82" fmla="*/ 19 w 250"/>
              <a:gd name="T83" fmla="*/ 0 h 181"/>
              <a:gd name="T84" fmla="*/ 85 w 250"/>
              <a:gd name="T85" fmla="*/ 0 h 181"/>
              <a:gd name="T86" fmla="*/ 41 w 250"/>
              <a:gd name="T87" fmla="*/ 162 h 181"/>
              <a:gd name="T88" fmla="*/ 79 w 250"/>
              <a:gd name="T89" fmla="*/ 162 h 181"/>
              <a:gd name="T90" fmla="*/ 60 w 250"/>
              <a:gd name="T91" fmla="*/ 148 h 181"/>
              <a:gd name="T92" fmla="*/ 60 w 250"/>
              <a:gd name="T93" fmla="*/ 177 h 181"/>
              <a:gd name="T94" fmla="*/ 60 w 250"/>
              <a:gd name="T95" fmla="*/ 148 h 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50" h="181">
                <a:moveTo>
                  <a:pt x="222" y="100"/>
                </a:moveTo>
                <a:cubicBezTo>
                  <a:pt x="172" y="100"/>
                  <a:pt x="172" y="100"/>
                  <a:pt x="172" y="100"/>
                </a:cubicBezTo>
                <a:cubicBezTo>
                  <a:pt x="172" y="62"/>
                  <a:pt x="172" y="62"/>
                  <a:pt x="172" y="62"/>
                </a:cubicBezTo>
                <a:cubicBezTo>
                  <a:pt x="210" y="62"/>
                  <a:pt x="210" y="62"/>
                  <a:pt x="210" y="62"/>
                </a:cubicBezTo>
                <a:lnTo>
                  <a:pt x="222" y="100"/>
                </a:lnTo>
                <a:close/>
                <a:moveTo>
                  <a:pt x="176" y="96"/>
                </a:moveTo>
                <a:cubicBezTo>
                  <a:pt x="217" y="96"/>
                  <a:pt x="217" y="96"/>
                  <a:pt x="217" y="96"/>
                </a:cubicBezTo>
                <a:cubicBezTo>
                  <a:pt x="207" y="66"/>
                  <a:pt x="207" y="66"/>
                  <a:pt x="207" y="66"/>
                </a:cubicBezTo>
                <a:cubicBezTo>
                  <a:pt x="176" y="66"/>
                  <a:pt x="176" y="66"/>
                  <a:pt x="176" y="66"/>
                </a:cubicBezTo>
                <a:lnTo>
                  <a:pt x="176" y="96"/>
                </a:lnTo>
                <a:close/>
                <a:moveTo>
                  <a:pt x="34" y="61"/>
                </a:moveTo>
                <a:cubicBezTo>
                  <a:pt x="113" y="61"/>
                  <a:pt x="113" y="61"/>
                  <a:pt x="113" y="61"/>
                </a:cubicBezTo>
                <a:cubicBezTo>
                  <a:pt x="113" y="57"/>
                  <a:pt x="113" y="57"/>
                  <a:pt x="113" y="57"/>
                </a:cubicBezTo>
                <a:cubicBezTo>
                  <a:pt x="34" y="57"/>
                  <a:pt x="34" y="57"/>
                  <a:pt x="34" y="57"/>
                </a:cubicBezTo>
                <a:lnTo>
                  <a:pt x="34" y="61"/>
                </a:lnTo>
                <a:close/>
                <a:moveTo>
                  <a:pt x="34" y="83"/>
                </a:moveTo>
                <a:cubicBezTo>
                  <a:pt x="113" y="83"/>
                  <a:pt x="113" y="83"/>
                  <a:pt x="113" y="83"/>
                </a:cubicBezTo>
                <a:cubicBezTo>
                  <a:pt x="113" y="79"/>
                  <a:pt x="113" y="79"/>
                  <a:pt x="113" y="79"/>
                </a:cubicBezTo>
                <a:cubicBezTo>
                  <a:pt x="34" y="79"/>
                  <a:pt x="34" y="79"/>
                  <a:pt x="34" y="79"/>
                </a:cubicBezTo>
                <a:lnTo>
                  <a:pt x="34" y="83"/>
                </a:lnTo>
                <a:close/>
                <a:moveTo>
                  <a:pt x="34" y="38"/>
                </a:moveTo>
                <a:cubicBezTo>
                  <a:pt x="113" y="38"/>
                  <a:pt x="113" y="38"/>
                  <a:pt x="113" y="38"/>
                </a:cubicBezTo>
                <a:cubicBezTo>
                  <a:pt x="113" y="34"/>
                  <a:pt x="113" y="34"/>
                  <a:pt x="113" y="34"/>
                </a:cubicBezTo>
                <a:cubicBezTo>
                  <a:pt x="34" y="34"/>
                  <a:pt x="34" y="34"/>
                  <a:pt x="34" y="34"/>
                </a:cubicBezTo>
                <a:lnTo>
                  <a:pt x="34" y="38"/>
                </a:lnTo>
                <a:close/>
                <a:moveTo>
                  <a:pt x="186" y="181"/>
                </a:moveTo>
                <a:cubicBezTo>
                  <a:pt x="176" y="181"/>
                  <a:pt x="167" y="173"/>
                  <a:pt x="167" y="162"/>
                </a:cubicBezTo>
                <a:cubicBezTo>
                  <a:pt x="167" y="152"/>
                  <a:pt x="176" y="144"/>
                  <a:pt x="186" y="144"/>
                </a:cubicBezTo>
                <a:cubicBezTo>
                  <a:pt x="197" y="144"/>
                  <a:pt x="206" y="152"/>
                  <a:pt x="206" y="162"/>
                </a:cubicBezTo>
                <a:cubicBezTo>
                  <a:pt x="206" y="173"/>
                  <a:pt x="197" y="181"/>
                  <a:pt x="186" y="181"/>
                </a:cubicBezTo>
                <a:close/>
                <a:moveTo>
                  <a:pt x="186" y="148"/>
                </a:moveTo>
                <a:cubicBezTo>
                  <a:pt x="178" y="148"/>
                  <a:pt x="171" y="154"/>
                  <a:pt x="171" y="162"/>
                </a:cubicBezTo>
                <a:cubicBezTo>
                  <a:pt x="171" y="170"/>
                  <a:pt x="178" y="177"/>
                  <a:pt x="186" y="177"/>
                </a:cubicBezTo>
                <a:cubicBezTo>
                  <a:pt x="195" y="177"/>
                  <a:pt x="202" y="170"/>
                  <a:pt x="202" y="162"/>
                </a:cubicBezTo>
                <a:cubicBezTo>
                  <a:pt x="202" y="154"/>
                  <a:pt x="195" y="148"/>
                  <a:pt x="186" y="148"/>
                </a:cubicBezTo>
                <a:close/>
                <a:moveTo>
                  <a:pt x="19" y="0"/>
                </a:moveTo>
                <a:cubicBezTo>
                  <a:pt x="9" y="0"/>
                  <a:pt x="0" y="9"/>
                  <a:pt x="0" y="19"/>
                </a:cubicBezTo>
                <a:cubicBezTo>
                  <a:pt x="0" y="139"/>
                  <a:pt x="0" y="139"/>
                  <a:pt x="0" y="139"/>
                </a:cubicBezTo>
                <a:cubicBezTo>
                  <a:pt x="0" y="149"/>
                  <a:pt x="9" y="158"/>
                  <a:pt x="19" y="158"/>
                </a:cubicBezTo>
                <a:cubicBezTo>
                  <a:pt x="36" y="158"/>
                  <a:pt x="36" y="158"/>
                  <a:pt x="36" y="158"/>
                </a:cubicBezTo>
                <a:cubicBezTo>
                  <a:pt x="37" y="155"/>
                  <a:pt x="37" y="155"/>
                  <a:pt x="37" y="155"/>
                </a:cubicBezTo>
                <a:cubicBezTo>
                  <a:pt x="39" y="144"/>
                  <a:pt x="49" y="136"/>
                  <a:pt x="61" y="136"/>
                </a:cubicBezTo>
                <a:cubicBezTo>
                  <a:pt x="73" y="136"/>
                  <a:pt x="83" y="144"/>
                  <a:pt x="85" y="155"/>
                </a:cubicBezTo>
                <a:cubicBezTo>
                  <a:pt x="86" y="158"/>
                  <a:pt x="86" y="158"/>
                  <a:pt x="86" y="158"/>
                </a:cubicBezTo>
                <a:cubicBezTo>
                  <a:pt x="162" y="158"/>
                  <a:pt x="162" y="158"/>
                  <a:pt x="162" y="158"/>
                </a:cubicBezTo>
                <a:cubicBezTo>
                  <a:pt x="162" y="155"/>
                  <a:pt x="162" y="155"/>
                  <a:pt x="162" y="155"/>
                </a:cubicBezTo>
                <a:cubicBezTo>
                  <a:pt x="164" y="144"/>
                  <a:pt x="175" y="136"/>
                  <a:pt x="186" y="136"/>
                </a:cubicBezTo>
                <a:cubicBezTo>
                  <a:pt x="198" y="136"/>
                  <a:pt x="209" y="144"/>
                  <a:pt x="211" y="155"/>
                </a:cubicBezTo>
                <a:cubicBezTo>
                  <a:pt x="211" y="158"/>
                  <a:pt x="211" y="158"/>
                  <a:pt x="211" y="158"/>
                </a:cubicBezTo>
                <a:cubicBezTo>
                  <a:pt x="230" y="158"/>
                  <a:pt x="230" y="158"/>
                  <a:pt x="230" y="158"/>
                </a:cubicBezTo>
                <a:cubicBezTo>
                  <a:pt x="236" y="158"/>
                  <a:pt x="242" y="156"/>
                  <a:pt x="245" y="151"/>
                </a:cubicBezTo>
                <a:cubicBezTo>
                  <a:pt x="248" y="147"/>
                  <a:pt x="250" y="142"/>
                  <a:pt x="249" y="138"/>
                </a:cubicBezTo>
                <a:cubicBezTo>
                  <a:pt x="248" y="133"/>
                  <a:pt x="231" y="65"/>
                  <a:pt x="230" y="60"/>
                </a:cubicBezTo>
                <a:cubicBezTo>
                  <a:pt x="227" y="48"/>
                  <a:pt x="218" y="41"/>
                  <a:pt x="208" y="41"/>
                </a:cubicBezTo>
                <a:cubicBezTo>
                  <a:pt x="175" y="41"/>
                  <a:pt x="175" y="41"/>
                  <a:pt x="175" y="41"/>
                </a:cubicBezTo>
                <a:cubicBezTo>
                  <a:pt x="175" y="19"/>
                  <a:pt x="175" y="19"/>
                  <a:pt x="175" y="19"/>
                </a:cubicBezTo>
                <a:cubicBezTo>
                  <a:pt x="175" y="9"/>
                  <a:pt x="166" y="0"/>
                  <a:pt x="156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47" y="0"/>
                  <a:pt x="46" y="2"/>
                  <a:pt x="46" y="4"/>
                </a:cubicBezTo>
                <a:cubicBezTo>
                  <a:pt x="46" y="6"/>
                  <a:pt x="47" y="8"/>
                  <a:pt x="50" y="8"/>
                </a:cubicBezTo>
                <a:cubicBezTo>
                  <a:pt x="50" y="8"/>
                  <a:pt x="50" y="8"/>
                  <a:pt x="50" y="8"/>
                </a:cubicBezTo>
                <a:cubicBezTo>
                  <a:pt x="156" y="8"/>
                  <a:pt x="156" y="8"/>
                  <a:pt x="156" y="8"/>
                </a:cubicBezTo>
                <a:cubicBezTo>
                  <a:pt x="162" y="8"/>
                  <a:pt x="167" y="13"/>
                  <a:pt x="167" y="19"/>
                </a:cubicBezTo>
                <a:cubicBezTo>
                  <a:pt x="167" y="49"/>
                  <a:pt x="167" y="49"/>
                  <a:pt x="167" y="49"/>
                </a:cubicBezTo>
                <a:cubicBezTo>
                  <a:pt x="208" y="49"/>
                  <a:pt x="208" y="49"/>
                  <a:pt x="208" y="49"/>
                </a:cubicBezTo>
                <a:cubicBezTo>
                  <a:pt x="217" y="49"/>
                  <a:pt x="221" y="57"/>
                  <a:pt x="222" y="62"/>
                </a:cubicBezTo>
                <a:cubicBezTo>
                  <a:pt x="229" y="84"/>
                  <a:pt x="240" y="136"/>
                  <a:pt x="241" y="140"/>
                </a:cubicBezTo>
                <a:cubicBezTo>
                  <a:pt x="241" y="142"/>
                  <a:pt x="241" y="144"/>
                  <a:pt x="239" y="146"/>
                </a:cubicBezTo>
                <a:cubicBezTo>
                  <a:pt x="237" y="149"/>
                  <a:pt x="234" y="150"/>
                  <a:pt x="230" y="150"/>
                </a:cubicBezTo>
                <a:cubicBezTo>
                  <a:pt x="218" y="150"/>
                  <a:pt x="218" y="150"/>
                  <a:pt x="218" y="150"/>
                </a:cubicBezTo>
                <a:cubicBezTo>
                  <a:pt x="214" y="137"/>
                  <a:pt x="201" y="128"/>
                  <a:pt x="186" y="128"/>
                </a:cubicBezTo>
                <a:cubicBezTo>
                  <a:pt x="172" y="128"/>
                  <a:pt x="159" y="137"/>
                  <a:pt x="155" y="150"/>
                </a:cubicBezTo>
                <a:cubicBezTo>
                  <a:pt x="92" y="150"/>
                  <a:pt x="92" y="150"/>
                  <a:pt x="92" y="150"/>
                </a:cubicBezTo>
                <a:cubicBezTo>
                  <a:pt x="89" y="137"/>
                  <a:pt x="76" y="128"/>
                  <a:pt x="61" y="128"/>
                </a:cubicBezTo>
                <a:cubicBezTo>
                  <a:pt x="46" y="128"/>
                  <a:pt x="33" y="137"/>
                  <a:pt x="30" y="150"/>
                </a:cubicBezTo>
                <a:cubicBezTo>
                  <a:pt x="19" y="150"/>
                  <a:pt x="19" y="150"/>
                  <a:pt x="19" y="150"/>
                </a:cubicBezTo>
                <a:cubicBezTo>
                  <a:pt x="13" y="150"/>
                  <a:pt x="8" y="145"/>
                  <a:pt x="8" y="139"/>
                </a:cubicBezTo>
                <a:cubicBezTo>
                  <a:pt x="8" y="19"/>
                  <a:pt x="8" y="19"/>
                  <a:pt x="8" y="19"/>
                </a:cubicBezTo>
                <a:cubicBezTo>
                  <a:pt x="8" y="13"/>
                  <a:pt x="13" y="8"/>
                  <a:pt x="19" y="8"/>
                </a:cubicBezTo>
                <a:cubicBezTo>
                  <a:pt x="27" y="8"/>
                  <a:pt x="27" y="8"/>
                  <a:pt x="27" y="8"/>
                </a:cubicBezTo>
                <a:cubicBezTo>
                  <a:pt x="29" y="8"/>
                  <a:pt x="31" y="6"/>
                  <a:pt x="31" y="4"/>
                </a:cubicBezTo>
                <a:cubicBezTo>
                  <a:pt x="31" y="2"/>
                  <a:pt x="29" y="0"/>
                  <a:pt x="27" y="0"/>
                </a:cubicBezTo>
                <a:lnTo>
                  <a:pt x="19" y="0"/>
                </a:lnTo>
                <a:close/>
                <a:moveTo>
                  <a:pt x="85" y="0"/>
                </a:moveTo>
                <a:cubicBezTo>
                  <a:pt x="85" y="0"/>
                  <a:pt x="85" y="0"/>
                  <a:pt x="85" y="0"/>
                </a:cubicBezTo>
                <a:moveTo>
                  <a:pt x="60" y="181"/>
                </a:moveTo>
                <a:cubicBezTo>
                  <a:pt x="49" y="181"/>
                  <a:pt x="41" y="173"/>
                  <a:pt x="41" y="162"/>
                </a:cubicBezTo>
                <a:cubicBezTo>
                  <a:pt x="41" y="152"/>
                  <a:pt x="49" y="144"/>
                  <a:pt x="60" y="144"/>
                </a:cubicBezTo>
                <a:cubicBezTo>
                  <a:pt x="70" y="144"/>
                  <a:pt x="79" y="152"/>
                  <a:pt x="79" y="162"/>
                </a:cubicBezTo>
                <a:cubicBezTo>
                  <a:pt x="79" y="173"/>
                  <a:pt x="71" y="181"/>
                  <a:pt x="60" y="181"/>
                </a:cubicBezTo>
                <a:close/>
                <a:moveTo>
                  <a:pt x="60" y="148"/>
                </a:moveTo>
                <a:cubicBezTo>
                  <a:pt x="52" y="148"/>
                  <a:pt x="45" y="154"/>
                  <a:pt x="45" y="162"/>
                </a:cubicBezTo>
                <a:cubicBezTo>
                  <a:pt x="45" y="170"/>
                  <a:pt x="51" y="177"/>
                  <a:pt x="60" y="177"/>
                </a:cubicBezTo>
                <a:cubicBezTo>
                  <a:pt x="68" y="177"/>
                  <a:pt x="75" y="170"/>
                  <a:pt x="75" y="162"/>
                </a:cubicBezTo>
                <a:cubicBezTo>
                  <a:pt x="75" y="154"/>
                  <a:pt x="68" y="148"/>
                  <a:pt x="60" y="148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2400"/>
          </a:p>
        </p:txBody>
      </p:sp>
      <p:grpSp>
        <p:nvGrpSpPr>
          <p:cNvPr id="110" name="Gruppieren 1"/>
          <p:cNvGrpSpPr/>
          <p:nvPr/>
        </p:nvGrpSpPr>
        <p:grpSpPr>
          <a:xfrm>
            <a:off x="5207501" y="2084851"/>
            <a:ext cx="864000" cy="864096"/>
            <a:chOff x="3924000" y="1527634"/>
            <a:chExt cx="648000" cy="648072"/>
          </a:xfrm>
        </p:grpSpPr>
        <p:pic>
          <p:nvPicPr>
            <p:cNvPr id="111" name="Picture 26"/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628" t="5070" r="5729" b="3686"/>
            <a:stretch/>
          </p:blipFill>
          <p:spPr bwMode="auto">
            <a:xfrm>
              <a:off x="3924000" y="1527634"/>
              <a:ext cx="648000" cy="648000"/>
            </a:xfrm>
            <a:prstGeom prst="ellips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12" name="Bogen 148"/>
            <p:cNvSpPr/>
            <p:nvPr/>
          </p:nvSpPr>
          <p:spPr>
            <a:xfrm>
              <a:off x="3924000" y="1527706"/>
              <a:ext cx="648000" cy="648000"/>
            </a:xfrm>
            <a:prstGeom prst="arc">
              <a:avLst>
                <a:gd name="adj1" fmla="val 18769191"/>
                <a:gd name="adj2" fmla="val 17426236"/>
              </a:avLst>
            </a:prstGeom>
            <a:noFill/>
            <a:ln w="25400" cap="rnd">
              <a:solidFill>
                <a:schemeClr val="bg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2400"/>
            </a:p>
          </p:txBody>
        </p:sp>
      </p:grpSp>
      <p:pic>
        <p:nvPicPr>
          <p:cNvPr id="113" name="Picture 9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50568" y="4389155"/>
            <a:ext cx="432000" cy="432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4" name="Gruppieren 279"/>
          <p:cNvGrpSpPr/>
          <p:nvPr/>
        </p:nvGrpSpPr>
        <p:grpSpPr bwMode="gray">
          <a:xfrm rot="20100000">
            <a:off x="5396244" y="4341738"/>
            <a:ext cx="544185" cy="684524"/>
            <a:chOff x="6808117" y="3752121"/>
            <a:chExt cx="359469" cy="452172"/>
          </a:xfrm>
          <a:solidFill>
            <a:schemeClr val="bg1"/>
          </a:solidFill>
        </p:grpSpPr>
        <p:cxnSp>
          <p:nvCxnSpPr>
            <p:cNvPr id="115" name="Gerade Verbindung 281"/>
            <p:cNvCxnSpPr/>
            <p:nvPr/>
          </p:nvCxnSpPr>
          <p:spPr bwMode="gray">
            <a:xfrm>
              <a:off x="7059574" y="4060277"/>
              <a:ext cx="108012" cy="144016"/>
            </a:xfrm>
            <a:prstGeom prst="line">
              <a:avLst/>
            </a:prstGeom>
            <a:grpFill/>
            <a:ln w="57150" cap="rnd">
              <a:solidFill>
                <a:schemeClr val="bg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6" name="Ellipse 285"/>
            <p:cNvSpPr/>
            <p:nvPr/>
          </p:nvSpPr>
          <p:spPr bwMode="gray">
            <a:xfrm>
              <a:off x="6808117" y="3752121"/>
              <a:ext cx="288032" cy="288032"/>
            </a:xfrm>
            <a:prstGeom prst="ellipse">
              <a:avLst/>
            </a:prstGeom>
            <a:noFill/>
            <a:ln w="31750" cap="rnd">
              <a:solidFill>
                <a:schemeClr val="bg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e GfK manier van werken</a:t>
            </a:r>
          </a:p>
        </p:txBody>
      </p:sp>
    </p:spTree>
    <p:extLst>
      <p:ext uri="{BB962C8B-B14F-4D97-AF65-F5344CB8AC3E}">
        <p14:creationId xmlns:p14="http://schemas.microsoft.com/office/powerpoint/2010/main" val="8135442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1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 type="lt">
                                    <p:tmPct val="8000"/>
                                  </p:iterate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800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iterate type="lt">
                                    <p:tmPct val="8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800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iterate type="lt">
                                    <p:tmPct val="8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75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75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nodeType="click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5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5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5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5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7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7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7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75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build="allAtOnce"/>
      <p:bldP spid="7" grpId="0" build="allAtOnce"/>
      <p:bldP spid="8" grpId="0" build="allAtOnce"/>
      <p:bldP spid="14" grpId="0" build="allAtOnce"/>
      <p:bldP spid="15" grpId="0" build="allAtOnce"/>
      <p:bldP spid="16" grpId="0" animBg="1"/>
      <p:bldP spid="1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 txBox="1">
            <a:spLocks/>
          </p:cNvSpPr>
          <p:nvPr/>
        </p:nvSpPr>
        <p:spPr bwMode="gray">
          <a:xfrm>
            <a:off x="3705577" y="-1152189"/>
            <a:ext cx="11328400" cy="1152189"/>
          </a:xfrm>
          <a:prstGeom prst="rect">
            <a:avLst/>
          </a:prstGeom>
        </p:spPr>
        <p:txBody>
          <a:bodyPr vert="horz" lIns="0" tIns="24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endParaRPr lang="en-US" sz="2400" dirty="0">
              <a:solidFill>
                <a:srgbClr val="E95E0F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5479444" y="2266906"/>
            <a:ext cx="1365251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ctr"/>
            <a:r>
              <a:rPr lang="fr-FR" sz="1600">
                <a:solidFill>
                  <a:srgbClr val="000000"/>
                </a:solidFill>
              </a:rPr>
              <a:t>Fashion</a:t>
            </a:r>
          </a:p>
        </p:txBody>
      </p:sp>
      <p:sp>
        <p:nvSpPr>
          <p:cNvPr id="10" name="Rectangle 8"/>
          <p:cNvSpPr>
            <a:spLocks noChangeArrowheads="1"/>
          </p:cNvSpPr>
          <p:nvPr/>
        </p:nvSpPr>
        <p:spPr bwMode="auto">
          <a:xfrm>
            <a:off x="8712481" y="4206783"/>
            <a:ext cx="1534584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ctr"/>
            <a:r>
              <a:rPr lang="fr-FR" sz="1600">
                <a:solidFill>
                  <a:srgbClr val="000000"/>
                </a:solidFill>
              </a:rPr>
              <a:t> Tourism</a:t>
            </a:r>
          </a:p>
        </p:txBody>
      </p:sp>
      <p:sp>
        <p:nvSpPr>
          <p:cNvPr id="11" name="Rectangle 12"/>
          <p:cNvSpPr>
            <a:spLocks noChangeArrowheads="1"/>
          </p:cNvSpPr>
          <p:nvPr/>
        </p:nvSpPr>
        <p:spPr bwMode="auto">
          <a:xfrm>
            <a:off x="7080149" y="2266906"/>
            <a:ext cx="1441449" cy="281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ctr"/>
            <a:r>
              <a:rPr lang="fr-FR" sz="1600" dirty="0" err="1">
                <a:solidFill>
                  <a:srgbClr val="000000"/>
                </a:solidFill>
              </a:rPr>
              <a:t>Stationery</a:t>
            </a:r>
            <a:endParaRPr lang="fr-FR" sz="1600" dirty="0">
              <a:solidFill>
                <a:srgbClr val="000000"/>
              </a:solidFill>
            </a:endParaRPr>
          </a:p>
        </p:txBody>
      </p:sp>
      <p:sp>
        <p:nvSpPr>
          <p:cNvPr id="12" name="Rectangle 15"/>
          <p:cNvSpPr>
            <a:spLocks noChangeArrowheads="1"/>
          </p:cNvSpPr>
          <p:nvPr/>
        </p:nvSpPr>
        <p:spPr bwMode="auto">
          <a:xfrm>
            <a:off x="3692677" y="4206783"/>
            <a:ext cx="153458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ctr"/>
            <a:r>
              <a:rPr lang="fr-FR" sz="1600" dirty="0">
                <a:solidFill>
                  <a:srgbClr val="000000"/>
                </a:solidFill>
              </a:rPr>
              <a:t>Telecom</a:t>
            </a:r>
          </a:p>
        </p:txBody>
      </p:sp>
      <p:sp>
        <p:nvSpPr>
          <p:cNvPr id="13" name="Rectangle 19"/>
          <p:cNvSpPr>
            <a:spLocks noChangeArrowheads="1"/>
          </p:cNvSpPr>
          <p:nvPr/>
        </p:nvSpPr>
        <p:spPr bwMode="auto">
          <a:xfrm>
            <a:off x="8757051" y="2266906"/>
            <a:ext cx="148166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ctr"/>
            <a:r>
              <a:rPr lang="fr-FR" sz="1600">
                <a:solidFill>
                  <a:srgbClr val="000000"/>
                </a:solidFill>
              </a:rPr>
              <a:t>DIY /</a:t>
            </a:r>
            <a:br>
              <a:rPr lang="fr-FR" sz="1600">
                <a:solidFill>
                  <a:srgbClr val="000000"/>
                </a:solidFill>
              </a:rPr>
            </a:br>
            <a:r>
              <a:rPr lang="fr-FR" sz="1600">
                <a:solidFill>
                  <a:srgbClr val="000000"/>
                </a:solidFill>
              </a:rPr>
              <a:t>lighting</a:t>
            </a:r>
          </a:p>
        </p:txBody>
      </p:sp>
      <p:sp>
        <p:nvSpPr>
          <p:cNvPr id="14" name="Rectangle 22"/>
          <p:cNvSpPr>
            <a:spLocks noChangeArrowheads="1"/>
          </p:cNvSpPr>
          <p:nvPr/>
        </p:nvSpPr>
        <p:spPr bwMode="auto">
          <a:xfrm>
            <a:off x="7032174" y="4206783"/>
            <a:ext cx="153458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ctr"/>
            <a:r>
              <a:rPr lang="fr-FR" sz="1600" dirty="0" err="1">
                <a:solidFill>
                  <a:srgbClr val="000000"/>
                </a:solidFill>
              </a:rPr>
              <a:t>Gardening</a:t>
            </a:r>
            <a:endParaRPr lang="fr-FR" sz="1600" dirty="0">
              <a:solidFill>
                <a:srgbClr val="000000"/>
              </a:solidFill>
            </a:endParaRPr>
          </a:p>
        </p:txBody>
      </p:sp>
      <p:sp>
        <p:nvSpPr>
          <p:cNvPr id="15" name="Rectangle 25"/>
          <p:cNvSpPr>
            <a:spLocks noChangeArrowheads="1"/>
          </p:cNvSpPr>
          <p:nvPr/>
        </p:nvSpPr>
        <p:spPr bwMode="auto">
          <a:xfrm>
            <a:off x="3736924" y="2266906"/>
            <a:ext cx="1507067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ctr"/>
            <a:r>
              <a:rPr lang="fr-FR" sz="1600">
                <a:solidFill>
                  <a:srgbClr val="000000"/>
                </a:solidFill>
              </a:rPr>
              <a:t>Entertainment</a:t>
            </a:r>
          </a:p>
        </p:txBody>
      </p:sp>
      <p:sp>
        <p:nvSpPr>
          <p:cNvPr id="16" name="Rectangle 29"/>
          <p:cNvSpPr>
            <a:spLocks noChangeArrowheads="1"/>
          </p:cNvSpPr>
          <p:nvPr/>
        </p:nvSpPr>
        <p:spPr bwMode="auto">
          <a:xfrm>
            <a:off x="5295620" y="4207111"/>
            <a:ext cx="1651000" cy="360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ctr">
              <a:defRPr/>
            </a:pPr>
            <a:r>
              <a:rPr lang="fr-FR" sz="1600" dirty="0">
                <a:solidFill>
                  <a:srgbClr val="000000"/>
                </a:solidFill>
              </a:rPr>
              <a:t>Office</a:t>
            </a:r>
            <a:br>
              <a:rPr lang="fr-FR" sz="1600" dirty="0">
                <a:solidFill>
                  <a:srgbClr val="000000"/>
                </a:solidFill>
              </a:rPr>
            </a:br>
            <a:r>
              <a:rPr lang="fr-FR" sz="1600" dirty="0" err="1">
                <a:solidFill>
                  <a:srgbClr val="000000"/>
                </a:solidFill>
              </a:rPr>
              <a:t>equipment</a:t>
            </a:r>
            <a:endParaRPr lang="fr-FR" sz="1600" dirty="0">
              <a:solidFill>
                <a:srgbClr val="000000"/>
              </a:solidFill>
            </a:endParaRPr>
          </a:p>
        </p:txBody>
      </p:sp>
      <p:sp>
        <p:nvSpPr>
          <p:cNvPr id="17" name="Text Box 32"/>
          <p:cNvSpPr txBox="1">
            <a:spLocks noChangeArrowheads="1"/>
          </p:cNvSpPr>
          <p:nvPr/>
        </p:nvSpPr>
        <p:spPr bwMode="auto">
          <a:xfrm>
            <a:off x="2085422" y="2266907"/>
            <a:ext cx="141604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sz="1600">
                <a:solidFill>
                  <a:srgbClr val="000000"/>
                </a:solidFill>
              </a:rPr>
              <a:t>IT</a:t>
            </a:r>
          </a:p>
        </p:txBody>
      </p:sp>
      <p:sp>
        <p:nvSpPr>
          <p:cNvPr id="18" name="Rectangle 35"/>
          <p:cNvSpPr>
            <a:spLocks noChangeArrowheads="1"/>
          </p:cNvSpPr>
          <p:nvPr/>
        </p:nvSpPr>
        <p:spPr bwMode="auto">
          <a:xfrm>
            <a:off x="10464316" y="4200721"/>
            <a:ext cx="153458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ctr"/>
            <a:r>
              <a:rPr lang="fr-FR" sz="1600" dirty="0">
                <a:solidFill>
                  <a:srgbClr val="000000"/>
                </a:solidFill>
              </a:rPr>
              <a:t> Bikes</a:t>
            </a:r>
          </a:p>
        </p:txBody>
      </p:sp>
      <p:sp>
        <p:nvSpPr>
          <p:cNvPr id="19" name="Rectangle 38"/>
          <p:cNvSpPr>
            <a:spLocks noChangeArrowheads="1"/>
          </p:cNvSpPr>
          <p:nvPr/>
        </p:nvSpPr>
        <p:spPr bwMode="auto">
          <a:xfrm>
            <a:off x="2012369" y="4206783"/>
            <a:ext cx="153458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ctr"/>
            <a:r>
              <a:rPr lang="fr-FR" sz="1600" dirty="0" err="1">
                <a:solidFill>
                  <a:srgbClr val="000000"/>
                </a:solidFill>
              </a:rPr>
              <a:t>Optics</a:t>
            </a:r>
            <a:endParaRPr lang="fr-FR" sz="1600" dirty="0">
              <a:solidFill>
                <a:srgbClr val="000000"/>
              </a:solidFill>
            </a:endParaRPr>
          </a:p>
        </p:txBody>
      </p:sp>
      <p:sp>
        <p:nvSpPr>
          <p:cNvPr id="20" name="Rectangle 45"/>
          <p:cNvSpPr>
            <a:spLocks noChangeArrowheads="1"/>
          </p:cNvSpPr>
          <p:nvPr/>
        </p:nvSpPr>
        <p:spPr bwMode="auto">
          <a:xfrm>
            <a:off x="332061" y="4206783"/>
            <a:ext cx="153458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ctr"/>
            <a:r>
              <a:rPr lang="fr-FR" sz="1600">
                <a:solidFill>
                  <a:srgbClr val="000000"/>
                </a:solidFill>
              </a:rPr>
              <a:t>Photo</a:t>
            </a:r>
          </a:p>
        </p:txBody>
      </p:sp>
      <p:sp>
        <p:nvSpPr>
          <p:cNvPr id="21" name="Rectangle 48"/>
          <p:cNvSpPr>
            <a:spLocks noChangeArrowheads="1"/>
          </p:cNvSpPr>
          <p:nvPr/>
        </p:nvSpPr>
        <p:spPr bwMode="auto">
          <a:xfrm>
            <a:off x="10474174" y="2266906"/>
            <a:ext cx="131656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algn="ctr"/>
            <a:r>
              <a:rPr lang="fr-FR" sz="1600" dirty="0">
                <a:solidFill>
                  <a:srgbClr val="000000"/>
                </a:solidFill>
              </a:rPr>
              <a:t> MDA       SDA</a:t>
            </a:r>
          </a:p>
        </p:txBody>
      </p:sp>
      <p:sp>
        <p:nvSpPr>
          <p:cNvPr id="22" name="Rectangle 52"/>
          <p:cNvSpPr>
            <a:spLocks noChangeArrowheads="1"/>
          </p:cNvSpPr>
          <p:nvPr/>
        </p:nvSpPr>
        <p:spPr bwMode="auto">
          <a:xfrm>
            <a:off x="381002" y="2305006"/>
            <a:ext cx="1468967" cy="2406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algn="ctr"/>
            <a:r>
              <a:rPr lang="fr-FR" sz="1600" dirty="0">
                <a:solidFill>
                  <a:srgbClr val="000000"/>
                </a:solidFill>
              </a:rPr>
              <a:t>Consumer </a:t>
            </a:r>
            <a:r>
              <a:rPr lang="fr-FR" sz="1600" dirty="0" err="1">
                <a:solidFill>
                  <a:srgbClr val="000000"/>
                </a:solidFill>
              </a:rPr>
              <a:t>electronics</a:t>
            </a:r>
            <a:endParaRPr lang="fr-FR" sz="1600" dirty="0">
              <a:solidFill>
                <a:srgbClr val="000000"/>
              </a:solidFill>
            </a:endParaRPr>
          </a:p>
        </p:txBody>
      </p:sp>
      <p:pic>
        <p:nvPicPr>
          <p:cNvPr id="41" name="Picture 40" descr="RadioInterview3_big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4636" y="2643623"/>
            <a:ext cx="567705" cy="602351"/>
          </a:xfrm>
          <a:prstGeom prst="rect">
            <a:avLst/>
          </a:prstGeom>
        </p:spPr>
      </p:pic>
      <p:pic>
        <p:nvPicPr>
          <p:cNvPr id="42" name="Picture 41" descr="TyreShopEmail.eps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8948" y="2651661"/>
            <a:ext cx="616304" cy="515455"/>
          </a:xfrm>
          <a:prstGeom prst="rect">
            <a:avLst/>
          </a:prstGeom>
        </p:spPr>
      </p:pic>
      <p:cxnSp>
        <p:nvCxnSpPr>
          <p:cNvPr id="4" name="Straight Connector 3"/>
          <p:cNvCxnSpPr/>
          <p:nvPr/>
        </p:nvCxnSpPr>
        <p:spPr>
          <a:xfrm>
            <a:off x="507150" y="3402545"/>
            <a:ext cx="1212001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2177358" y="3402545"/>
            <a:ext cx="1212001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3847566" y="3402545"/>
            <a:ext cx="1212001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5517774" y="3402545"/>
            <a:ext cx="1212001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7187982" y="3402545"/>
            <a:ext cx="1212001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8858190" y="3402545"/>
            <a:ext cx="1212001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10528400" y="3402545"/>
            <a:ext cx="1212001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Picture 48" descr="Videos_in_the_internet_big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95925" y="2663593"/>
            <a:ext cx="542259" cy="509395"/>
          </a:xfrm>
          <a:prstGeom prst="rect">
            <a:avLst/>
          </a:prstGeom>
        </p:spPr>
      </p:pic>
      <p:grpSp>
        <p:nvGrpSpPr>
          <p:cNvPr id="50" name="Group 49"/>
          <p:cNvGrpSpPr/>
          <p:nvPr/>
        </p:nvGrpSpPr>
        <p:grpSpPr>
          <a:xfrm>
            <a:off x="5862581" y="2687528"/>
            <a:ext cx="582411" cy="531168"/>
            <a:chOff x="5634724" y="2953804"/>
            <a:chExt cx="372014" cy="339282"/>
          </a:xfrm>
        </p:grpSpPr>
        <p:sp>
          <p:nvSpPr>
            <p:cNvPr id="51" name="Freeform 50"/>
            <p:cNvSpPr/>
            <p:nvPr/>
          </p:nvSpPr>
          <p:spPr>
            <a:xfrm>
              <a:off x="5634724" y="2953804"/>
              <a:ext cx="372014" cy="317510"/>
            </a:xfrm>
            <a:custGeom>
              <a:avLst/>
              <a:gdLst>
                <a:gd name="connsiteX0" fmla="*/ 279011 w 372014"/>
                <a:gd name="connsiteY0" fmla="*/ 317510 h 317510"/>
                <a:gd name="connsiteX1" fmla="*/ 96211 w 372014"/>
                <a:gd name="connsiteY1" fmla="*/ 317510 h 317510"/>
                <a:gd name="connsiteX2" fmla="*/ 93004 w 372014"/>
                <a:gd name="connsiteY2" fmla="*/ 96215 h 317510"/>
                <a:gd name="connsiteX3" fmla="*/ 41692 w 372014"/>
                <a:gd name="connsiteY3" fmla="*/ 128287 h 317510"/>
                <a:gd name="connsiteX4" fmla="*/ 0 w 372014"/>
                <a:gd name="connsiteY4" fmla="*/ 60936 h 317510"/>
                <a:gd name="connsiteX5" fmla="*/ 96211 w 372014"/>
                <a:gd name="connsiteY5" fmla="*/ 3207 h 317510"/>
                <a:gd name="connsiteX6" fmla="*/ 163558 w 372014"/>
                <a:gd name="connsiteY6" fmla="*/ 3207 h 317510"/>
                <a:gd name="connsiteX7" fmla="*/ 189214 w 372014"/>
                <a:gd name="connsiteY7" fmla="*/ 22450 h 317510"/>
                <a:gd name="connsiteX8" fmla="*/ 214870 w 372014"/>
                <a:gd name="connsiteY8" fmla="*/ 0 h 317510"/>
                <a:gd name="connsiteX9" fmla="*/ 282218 w 372014"/>
                <a:gd name="connsiteY9" fmla="*/ 3207 h 317510"/>
                <a:gd name="connsiteX10" fmla="*/ 372014 w 372014"/>
                <a:gd name="connsiteY10" fmla="*/ 60936 h 317510"/>
                <a:gd name="connsiteX11" fmla="*/ 339944 w 372014"/>
                <a:gd name="connsiteY11" fmla="*/ 128287 h 317510"/>
                <a:gd name="connsiteX12" fmla="*/ 279011 w 372014"/>
                <a:gd name="connsiteY12" fmla="*/ 96215 h 317510"/>
                <a:gd name="connsiteX13" fmla="*/ 279011 w 372014"/>
                <a:gd name="connsiteY13" fmla="*/ 317510 h 317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2014" h="317510">
                  <a:moveTo>
                    <a:pt x="279011" y="317510"/>
                  </a:moveTo>
                  <a:lnTo>
                    <a:pt x="96211" y="317510"/>
                  </a:lnTo>
                  <a:lnTo>
                    <a:pt x="93004" y="96215"/>
                  </a:lnTo>
                  <a:lnTo>
                    <a:pt x="41692" y="128287"/>
                  </a:lnTo>
                  <a:lnTo>
                    <a:pt x="0" y="60936"/>
                  </a:lnTo>
                  <a:lnTo>
                    <a:pt x="96211" y="3207"/>
                  </a:lnTo>
                  <a:lnTo>
                    <a:pt x="163558" y="3207"/>
                  </a:lnTo>
                  <a:lnTo>
                    <a:pt x="189214" y="22450"/>
                  </a:lnTo>
                  <a:lnTo>
                    <a:pt x="214870" y="0"/>
                  </a:lnTo>
                  <a:lnTo>
                    <a:pt x="282218" y="3207"/>
                  </a:lnTo>
                  <a:lnTo>
                    <a:pt x="372014" y="60936"/>
                  </a:lnTo>
                  <a:lnTo>
                    <a:pt x="339944" y="128287"/>
                  </a:lnTo>
                  <a:lnTo>
                    <a:pt x="279011" y="96215"/>
                  </a:lnTo>
                  <a:lnTo>
                    <a:pt x="279011" y="317510"/>
                  </a:lnTo>
                  <a:close/>
                </a:path>
              </a:pathLst>
            </a:custGeom>
            <a:noFill/>
            <a:ln w="12700" cmpd="sng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Oval 51"/>
            <p:cNvSpPr/>
            <p:nvPr/>
          </p:nvSpPr>
          <p:spPr bwMode="gray">
            <a:xfrm>
              <a:off x="5871567" y="3218010"/>
              <a:ext cx="75076" cy="75076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GB" sz="2133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pic>
        <p:nvPicPr>
          <p:cNvPr id="53" name="Picture 52" descr="lightning_big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62913" y="2677032"/>
            <a:ext cx="644841" cy="674075"/>
          </a:xfrm>
          <a:prstGeom prst="rect">
            <a:avLst/>
          </a:prstGeom>
        </p:spPr>
      </p:pic>
      <p:pic>
        <p:nvPicPr>
          <p:cNvPr id="3" name="Picture 2" descr="phone_call_big.png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1315" y="3576823"/>
            <a:ext cx="338551" cy="525767"/>
          </a:xfrm>
          <a:prstGeom prst="rect">
            <a:avLst/>
          </a:prstGeom>
        </p:spPr>
      </p:pic>
      <p:pic>
        <p:nvPicPr>
          <p:cNvPr id="7" name="Picture 6" descr="CuponCigaretteBox_big.png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2779" y="2647398"/>
            <a:ext cx="870204" cy="544989"/>
          </a:xfrm>
          <a:prstGeom prst="rect">
            <a:avLst/>
          </a:prstGeom>
        </p:spPr>
      </p:pic>
      <p:pic>
        <p:nvPicPr>
          <p:cNvPr id="24" name="Picture 23" descr="HHL-big.png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12491" y="2572259"/>
            <a:ext cx="575900" cy="732605"/>
          </a:xfrm>
          <a:prstGeom prst="rect">
            <a:avLst/>
          </a:prstGeom>
        </p:spPr>
      </p:pic>
      <p:pic>
        <p:nvPicPr>
          <p:cNvPr id="25" name="Picture 24" descr="Gardening-big.png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4226" y="3550237"/>
            <a:ext cx="521061" cy="558473"/>
          </a:xfrm>
          <a:prstGeom prst="rect">
            <a:avLst/>
          </a:prstGeom>
        </p:spPr>
      </p:pic>
      <p:pic>
        <p:nvPicPr>
          <p:cNvPr id="56" name="Picture 55" descr="airplane BIG.png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6056" y="3577590"/>
            <a:ext cx="638961" cy="638961"/>
          </a:xfrm>
          <a:prstGeom prst="rect">
            <a:avLst/>
          </a:prstGeom>
        </p:spPr>
      </p:pic>
      <p:pic>
        <p:nvPicPr>
          <p:cNvPr id="58" name="Picture 57" descr="CE-Photo-big.png"/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5310" y="3555109"/>
            <a:ext cx="683892" cy="576255"/>
          </a:xfrm>
          <a:prstGeom prst="rect">
            <a:avLst/>
          </a:prstGeom>
        </p:spPr>
      </p:pic>
      <p:pic>
        <p:nvPicPr>
          <p:cNvPr id="63" name="Picture 62" descr="OPI Manufacturers A.pdf"/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281" t="30933" r="48070" b="65495"/>
          <a:stretch/>
        </p:blipFill>
        <p:spPr>
          <a:xfrm>
            <a:off x="5687311" y="3584327"/>
            <a:ext cx="870508" cy="661700"/>
          </a:xfrm>
          <a:prstGeom prst="rect">
            <a:avLst/>
          </a:prstGeom>
        </p:spPr>
      </p:pic>
      <p:grpSp>
        <p:nvGrpSpPr>
          <p:cNvPr id="54" name="Group 53"/>
          <p:cNvGrpSpPr/>
          <p:nvPr/>
        </p:nvGrpSpPr>
        <p:grpSpPr>
          <a:xfrm>
            <a:off x="2303171" y="3618142"/>
            <a:ext cx="909156" cy="564039"/>
            <a:chOff x="1727378" y="2713606"/>
            <a:chExt cx="681867" cy="423029"/>
          </a:xfrm>
        </p:grpSpPr>
        <p:pic>
          <p:nvPicPr>
            <p:cNvPr id="59" name="Picture 58" descr="Celebrity Sunglasses BIG.png"/>
            <p:cNvPicPr>
              <a:picLocks noChangeAspect="1"/>
            </p:cNvPicPr>
            <p:nvPr/>
          </p:nvPicPr>
          <p:blipFill rotWithShape="1"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727378" y="2736419"/>
              <a:ext cx="681867" cy="400216"/>
            </a:xfrm>
            <a:prstGeom prst="rect">
              <a:avLst/>
            </a:prstGeom>
          </p:spPr>
        </p:pic>
        <p:sp>
          <p:nvSpPr>
            <p:cNvPr id="5" name="Oval 4"/>
            <p:cNvSpPr/>
            <p:nvPr/>
          </p:nvSpPr>
          <p:spPr bwMode="gray">
            <a:xfrm>
              <a:off x="2022778" y="2713606"/>
              <a:ext cx="57904" cy="100361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endParaRPr lang="en-US" sz="2133" dirty="0" err="1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57" name="Freeform 482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887517" y="3621022"/>
            <a:ext cx="681091" cy="418316"/>
          </a:xfrm>
          <a:custGeom>
            <a:avLst/>
            <a:gdLst>
              <a:gd name="T0" fmla="*/ 1240 w 2280"/>
              <a:gd name="T1" fmla="*/ 60 h 1400"/>
              <a:gd name="T2" fmla="*/ 1500 w 2280"/>
              <a:gd name="T3" fmla="*/ 0 h 1400"/>
              <a:gd name="T4" fmla="*/ 1485 w 2280"/>
              <a:gd name="T5" fmla="*/ 260 h 1400"/>
              <a:gd name="T6" fmla="*/ 1862 w 2280"/>
              <a:gd name="T7" fmla="*/ 898 h 1400"/>
              <a:gd name="T8" fmla="*/ 1778 w 2280"/>
              <a:gd name="T9" fmla="*/ 982 h 1400"/>
              <a:gd name="T10" fmla="*/ 1565 w 2280"/>
              <a:gd name="T11" fmla="*/ 763 h 1400"/>
              <a:gd name="T12" fmla="*/ 1195 w 2280"/>
              <a:gd name="T13" fmla="*/ 1084 h 1400"/>
              <a:gd name="T14" fmla="*/ 450 w 2280"/>
              <a:gd name="T15" fmla="*/ 999 h 1400"/>
              <a:gd name="T16" fmla="*/ 774 w 2280"/>
              <a:gd name="T17" fmla="*/ 398 h 1400"/>
              <a:gd name="T18" fmla="*/ 630 w 2280"/>
              <a:gd name="T19" fmla="*/ 279 h 1400"/>
              <a:gd name="T20" fmla="*/ 560 w 2280"/>
              <a:gd name="T21" fmla="*/ 180 h 1400"/>
              <a:gd name="T22" fmla="*/ 860 w 2280"/>
              <a:gd name="T23" fmla="*/ 120 h 1400"/>
              <a:gd name="T24" fmla="*/ 866 w 2280"/>
              <a:gd name="T25" fmla="*/ 240 h 1400"/>
              <a:gd name="T26" fmla="*/ 870 w 2280"/>
              <a:gd name="T27" fmla="*/ 320 h 1400"/>
              <a:gd name="T28" fmla="*/ 1365 w 2280"/>
              <a:gd name="T29" fmla="*/ 283 h 1400"/>
              <a:gd name="T30" fmla="*/ 1412 w 2280"/>
              <a:gd name="T31" fmla="*/ 120 h 1400"/>
              <a:gd name="T32" fmla="*/ 1820 w 2280"/>
              <a:gd name="T33" fmla="*/ 480 h 1400"/>
              <a:gd name="T34" fmla="*/ 1820 w 2280"/>
              <a:gd name="T35" fmla="*/ 1400 h 1400"/>
              <a:gd name="T36" fmla="*/ 1362 w 2280"/>
              <a:gd name="T37" fmla="*/ 894 h 1400"/>
              <a:gd name="T38" fmla="*/ 1509 w 2280"/>
              <a:gd name="T39" fmla="*/ 786 h 1400"/>
              <a:gd name="T40" fmla="*/ 1480 w 2280"/>
              <a:gd name="T41" fmla="*/ 940 h 1400"/>
              <a:gd name="T42" fmla="*/ 2160 w 2280"/>
              <a:gd name="T43" fmla="*/ 940 h 1400"/>
              <a:gd name="T44" fmla="*/ 1700 w 2280"/>
              <a:gd name="T45" fmla="*/ 622 h 1400"/>
              <a:gd name="T46" fmla="*/ 1820 w 2280"/>
              <a:gd name="T47" fmla="*/ 480 h 1400"/>
              <a:gd name="T48" fmla="*/ 621 w 2280"/>
              <a:gd name="T49" fmla="*/ 509 h 1400"/>
              <a:gd name="T50" fmla="*/ 460 w 2280"/>
              <a:gd name="T51" fmla="*/ 600 h 1400"/>
              <a:gd name="T52" fmla="*/ 460 w 2280"/>
              <a:gd name="T53" fmla="*/ 1280 h 1400"/>
              <a:gd name="T54" fmla="*/ 742 w 2280"/>
              <a:gd name="T55" fmla="*/ 1130 h 1400"/>
              <a:gd name="T56" fmla="*/ 785 w 2280"/>
              <a:gd name="T57" fmla="*/ 1265 h 1400"/>
              <a:gd name="T58" fmla="*/ 0 w 2280"/>
              <a:gd name="T59" fmla="*/ 940 h 1400"/>
              <a:gd name="T60" fmla="*/ 816 w 2280"/>
              <a:gd name="T61" fmla="*/ 648 h 1400"/>
              <a:gd name="T62" fmla="*/ 797 w 2280"/>
              <a:gd name="T63" fmla="*/ 896 h 1400"/>
              <a:gd name="T64" fmla="*/ 816 w 2280"/>
              <a:gd name="T65" fmla="*/ 648 h 1400"/>
              <a:gd name="T66" fmla="*/ 924 w 2280"/>
              <a:gd name="T67" fmla="*/ 440 h 1400"/>
              <a:gd name="T68" fmla="*/ 1366 w 2280"/>
              <a:gd name="T69" fmla="*/ 440 h 1400"/>
              <a:gd name="T70" fmla="*/ 564 w 2280"/>
              <a:gd name="T71" fmla="*/ 898 h 1400"/>
              <a:gd name="T72" fmla="*/ 831 w 2280"/>
              <a:gd name="T73" fmla="*/ 524 h 1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280" h="1400">
                <a:moveTo>
                  <a:pt x="1300" y="120"/>
                </a:moveTo>
                <a:cubicBezTo>
                  <a:pt x="1267" y="120"/>
                  <a:pt x="1240" y="93"/>
                  <a:pt x="1240" y="60"/>
                </a:cubicBezTo>
                <a:cubicBezTo>
                  <a:pt x="1240" y="27"/>
                  <a:pt x="1267" y="0"/>
                  <a:pt x="1300" y="0"/>
                </a:cubicBezTo>
                <a:cubicBezTo>
                  <a:pt x="1500" y="0"/>
                  <a:pt x="1500" y="0"/>
                  <a:pt x="1500" y="0"/>
                </a:cubicBezTo>
                <a:cubicBezTo>
                  <a:pt x="1545" y="0"/>
                  <a:pt x="1573" y="47"/>
                  <a:pt x="1554" y="86"/>
                </a:cubicBezTo>
                <a:cubicBezTo>
                  <a:pt x="1485" y="260"/>
                  <a:pt x="1485" y="260"/>
                  <a:pt x="1485" y="260"/>
                </a:cubicBezTo>
                <a:cubicBezTo>
                  <a:pt x="1671" y="706"/>
                  <a:pt x="1671" y="706"/>
                  <a:pt x="1671" y="706"/>
                </a:cubicBezTo>
                <a:cubicBezTo>
                  <a:pt x="1862" y="898"/>
                  <a:pt x="1862" y="898"/>
                  <a:pt x="1862" y="898"/>
                </a:cubicBezTo>
                <a:cubicBezTo>
                  <a:pt x="1886" y="921"/>
                  <a:pt x="1886" y="959"/>
                  <a:pt x="1862" y="982"/>
                </a:cubicBezTo>
                <a:cubicBezTo>
                  <a:pt x="1839" y="1006"/>
                  <a:pt x="1801" y="1006"/>
                  <a:pt x="1778" y="982"/>
                </a:cubicBezTo>
                <a:cubicBezTo>
                  <a:pt x="1578" y="782"/>
                  <a:pt x="1578" y="782"/>
                  <a:pt x="1578" y="782"/>
                </a:cubicBezTo>
                <a:cubicBezTo>
                  <a:pt x="1572" y="777"/>
                  <a:pt x="1568" y="770"/>
                  <a:pt x="1565" y="763"/>
                </a:cubicBezTo>
                <a:cubicBezTo>
                  <a:pt x="1462" y="516"/>
                  <a:pt x="1462" y="516"/>
                  <a:pt x="1462" y="516"/>
                </a:cubicBezTo>
                <a:cubicBezTo>
                  <a:pt x="1195" y="1084"/>
                  <a:pt x="1195" y="1084"/>
                  <a:pt x="1195" y="1084"/>
                </a:cubicBezTo>
                <a:cubicBezTo>
                  <a:pt x="1184" y="1109"/>
                  <a:pt x="1157" y="1124"/>
                  <a:pt x="1130" y="1119"/>
                </a:cubicBezTo>
                <a:cubicBezTo>
                  <a:pt x="450" y="999"/>
                  <a:pt x="450" y="999"/>
                  <a:pt x="450" y="999"/>
                </a:cubicBezTo>
                <a:cubicBezTo>
                  <a:pt x="404" y="991"/>
                  <a:pt x="385" y="937"/>
                  <a:pt x="414" y="902"/>
                </a:cubicBezTo>
                <a:cubicBezTo>
                  <a:pt x="774" y="398"/>
                  <a:pt x="774" y="398"/>
                  <a:pt x="774" y="398"/>
                </a:cubicBezTo>
                <a:cubicBezTo>
                  <a:pt x="713" y="265"/>
                  <a:pt x="713" y="265"/>
                  <a:pt x="713" y="265"/>
                </a:cubicBezTo>
                <a:cubicBezTo>
                  <a:pt x="630" y="279"/>
                  <a:pt x="630" y="279"/>
                  <a:pt x="630" y="279"/>
                </a:cubicBezTo>
                <a:cubicBezTo>
                  <a:pt x="597" y="284"/>
                  <a:pt x="566" y="262"/>
                  <a:pt x="561" y="230"/>
                </a:cubicBezTo>
                <a:cubicBezTo>
                  <a:pt x="558" y="216"/>
                  <a:pt x="560" y="195"/>
                  <a:pt x="560" y="180"/>
                </a:cubicBezTo>
                <a:cubicBezTo>
                  <a:pt x="560" y="147"/>
                  <a:pt x="587" y="120"/>
                  <a:pt x="620" y="120"/>
                </a:cubicBezTo>
                <a:cubicBezTo>
                  <a:pt x="860" y="120"/>
                  <a:pt x="860" y="120"/>
                  <a:pt x="860" y="120"/>
                </a:cubicBezTo>
                <a:cubicBezTo>
                  <a:pt x="893" y="120"/>
                  <a:pt x="920" y="147"/>
                  <a:pt x="920" y="180"/>
                </a:cubicBezTo>
                <a:cubicBezTo>
                  <a:pt x="920" y="211"/>
                  <a:pt x="896" y="237"/>
                  <a:pt x="866" y="240"/>
                </a:cubicBezTo>
                <a:cubicBezTo>
                  <a:pt x="835" y="245"/>
                  <a:pt x="835" y="245"/>
                  <a:pt x="835" y="245"/>
                </a:cubicBezTo>
                <a:cubicBezTo>
                  <a:pt x="870" y="320"/>
                  <a:pt x="870" y="320"/>
                  <a:pt x="870" y="320"/>
                </a:cubicBezTo>
                <a:cubicBezTo>
                  <a:pt x="1380" y="320"/>
                  <a:pt x="1380" y="320"/>
                  <a:pt x="1380" y="320"/>
                </a:cubicBezTo>
                <a:cubicBezTo>
                  <a:pt x="1365" y="283"/>
                  <a:pt x="1365" y="283"/>
                  <a:pt x="1365" y="283"/>
                </a:cubicBezTo>
                <a:cubicBezTo>
                  <a:pt x="1359" y="269"/>
                  <a:pt x="1358" y="253"/>
                  <a:pt x="1364" y="238"/>
                </a:cubicBezTo>
                <a:cubicBezTo>
                  <a:pt x="1412" y="120"/>
                  <a:pt x="1412" y="120"/>
                  <a:pt x="1412" y="120"/>
                </a:cubicBezTo>
                <a:lnTo>
                  <a:pt x="1300" y="120"/>
                </a:lnTo>
                <a:close/>
                <a:moveTo>
                  <a:pt x="1820" y="480"/>
                </a:moveTo>
                <a:cubicBezTo>
                  <a:pt x="2074" y="480"/>
                  <a:pt x="2280" y="686"/>
                  <a:pt x="2280" y="940"/>
                </a:cubicBezTo>
                <a:cubicBezTo>
                  <a:pt x="2280" y="1194"/>
                  <a:pt x="2074" y="1400"/>
                  <a:pt x="1820" y="1400"/>
                </a:cubicBezTo>
                <a:cubicBezTo>
                  <a:pt x="1566" y="1400"/>
                  <a:pt x="1360" y="1194"/>
                  <a:pt x="1360" y="940"/>
                </a:cubicBezTo>
                <a:cubicBezTo>
                  <a:pt x="1360" y="924"/>
                  <a:pt x="1361" y="909"/>
                  <a:pt x="1362" y="894"/>
                </a:cubicBezTo>
                <a:cubicBezTo>
                  <a:pt x="1462" y="671"/>
                  <a:pt x="1462" y="671"/>
                  <a:pt x="1462" y="671"/>
                </a:cubicBezTo>
                <a:cubicBezTo>
                  <a:pt x="1509" y="786"/>
                  <a:pt x="1509" y="786"/>
                  <a:pt x="1509" y="786"/>
                </a:cubicBezTo>
                <a:cubicBezTo>
                  <a:pt x="1510" y="789"/>
                  <a:pt x="1512" y="791"/>
                  <a:pt x="1513" y="794"/>
                </a:cubicBezTo>
                <a:cubicBezTo>
                  <a:pt x="1492" y="838"/>
                  <a:pt x="1480" y="888"/>
                  <a:pt x="1480" y="940"/>
                </a:cubicBezTo>
                <a:cubicBezTo>
                  <a:pt x="1480" y="1128"/>
                  <a:pt x="1632" y="1280"/>
                  <a:pt x="1820" y="1280"/>
                </a:cubicBezTo>
                <a:cubicBezTo>
                  <a:pt x="2008" y="1280"/>
                  <a:pt x="2160" y="1128"/>
                  <a:pt x="2160" y="940"/>
                </a:cubicBezTo>
                <a:cubicBezTo>
                  <a:pt x="2160" y="752"/>
                  <a:pt x="2008" y="600"/>
                  <a:pt x="1820" y="600"/>
                </a:cubicBezTo>
                <a:cubicBezTo>
                  <a:pt x="1778" y="600"/>
                  <a:pt x="1738" y="608"/>
                  <a:pt x="1700" y="622"/>
                </a:cubicBezTo>
                <a:cubicBezTo>
                  <a:pt x="1654" y="511"/>
                  <a:pt x="1654" y="511"/>
                  <a:pt x="1654" y="511"/>
                </a:cubicBezTo>
                <a:cubicBezTo>
                  <a:pt x="1706" y="491"/>
                  <a:pt x="1762" y="480"/>
                  <a:pt x="1820" y="480"/>
                </a:cubicBezTo>
                <a:close/>
                <a:moveTo>
                  <a:pt x="460" y="480"/>
                </a:moveTo>
                <a:cubicBezTo>
                  <a:pt x="516" y="480"/>
                  <a:pt x="571" y="490"/>
                  <a:pt x="621" y="509"/>
                </a:cubicBezTo>
                <a:cubicBezTo>
                  <a:pt x="548" y="612"/>
                  <a:pt x="548" y="612"/>
                  <a:pt x="548" y="612"/>
                </a:cubicBezTo>
                <a:cubicBezTo>
                  <a:pt x="520" y="604"/>
                  <a:pt x="490" y="600"/>
                  <a:pt x="460" y="600"/>
                </a:cubicBezTo>
                <a:cubicBezTo>
                  <a:pt x="272" y="600"/>
                  <a:pt x="120" y="752"/>
                  <a:pt x="120" y="940"/>
                </a:cubicBezTo>
                <a:cubicBezTo>
                  <a:pt x="120" y="1128"/>
                  <a:pt x="272" y="1280"/>
                  <a:pt x="460" y="1280"/>
                </a:cubicBezTo>
                <a:cubicBezTo>
                  <a:pt x="554" y="1280"/>
                  <a:pt x="639" y="1242"/>
                  <a:pt x="700" y="1180"/>
                </a:cubicBezTo>
                <a:cubicBezTo>
                  <a:pt x="716" y="1165"/>
                  <a:pt x="730" y="1148"/>
                  <a:pt x="742" y="1130"/>
                </a:cubicBezTo>
                <a:cubicBezTo>
                  <a:pt x="865" y="1158"/>
                  <a:pt x="865" y="1158"/>
                  <a:pt x="865" y="1158"/>
                </a:cubicBezTo>
                <a:cubicBezTo>
                  <a:pt x="844" y="1198"/>
                  <a:pt x="817" y="1234"/>
                  <a:pt x="785" y="1265"/>
                </a:cubicBezTo>
                <a:cubicBezTo>
                  <a:pt x="702" y="1348"/>
                  <a:pt x="587" y="1400"/>
                  <a:pt x="460" y="1400"/>
                </a:cubicBezTo>
                <a:cubicBezTo>
                  <a:pt x="206" y="1400"/>
                  <a:pt x="0" y="1194"/>
                  <a:pt x="0" y="940"/>
                </a:cubicBezTo>
                <a:cubicBezTo>
                  <a:pt x="0" y="686"/>
                  <a:pt x="206" y="480"/>
                  <a:pt x="460" y="480"/>
                </a:cubicBezTo>
                <a:close/>
                <a:moveTo>
                  <a:pt x="816" y="648"/>
                </a:moveTo>
                <a:cubicBezTo>
                  <a:pt x="878" y="724"/>
                  <a:pt x="916" y="820"/>
                  <a:pt x="920" y="925"/>
                </a:cubicBezTo>
                <a:cubicBezTo>
                  <a:pt x="797" y="896"/>
                  <a:pt x="797" y="896"/>
                  <a:pt x="797" y="896"/>
                </a:cubicBezTo>
                <a:cubicBezTo>
                  <a:pt x="790" y="843"/>
                  <a:pt x="771" y="793"/>
                  <a:pt x="742" y="750"/>
                </a:cubicBezTo>
                <a:lnTo>
                  <a:pt x="816" y="648"/>
                </a:lnTo>
                <a:close/>
                <a:moveTo>
                  <a:pt x="1366" y="440"/>
                </a:moveTo>
                <a:cubicBezTo>
                  <a:pt x="924" y="440"/>
                  <a:pt x="924" y="440"/>
                  <a:pt x="924" y="440"/>
                </a:cubicBezTo>
                <a:cubicBezTo>
                  <a:pt x="1141" y="917"/>
                  <a:pt x="1141" y="917"/>
                  <a:pt x="1141" y="917"/>
                </a:cubicBezTo>
                <a:lnTo>
                  <a:pt x="1366" y="440"/>
                </a:lnTo>
                <a:close/>
                <a:moveTo>
                  <a:pt x="831" y="524"/>
                </a:moveTo>
                <a:cubicBezTo>
                  <a:pt x="564" y="898"/>
                  <a:pt x="564" y="898"/>
                  <a:pt x="564" y="898"/>
                </a:cubicBezTo>
                <a:cubicBezTo>
                  <a:pt x="1038" y="981"/>
                  <a:pt x="1038" y="981"/>
                  <a:pt x="1038" y="981"/>
                </a:cubicBezTo>
                <a:lnTo>
                  <a:pt x="831" y="5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srgbClr val="928580">
                  <a:lumMod val="60000"/>
                  <a:lumOff val="40000"/>
                </a:srgbClr>
              </a:solidFill>
            </a:endParaRPr>
          </a:p>
        </p:txBody>
      </p:sp>
      <p:sp>
        <p:nvSpPr>
          <p:cNvPr id="78" name="Freeform 77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11228063" y="2764421"/>
            <a:ext cx="634780" cy="454275"/>
          </a:xfrm>
          <a:custGeom>
            <a:avLst/>
            <a:gdLst>
              <a:gd name="T0" fmla="*/ 2121 w 2187"/>
              <a:gd name="T1" fmla="*/ 628 h 1565"/>
              <a:gd name="T2" fmla="*/ 1952 w 2187"/>
              <a:gd name="T3" fmla="*/ 775 h 1565"/>
              <a:gd name="T4" fmla="*/ 1914 w 2187"/>
              <a:gd name="T5" fmla="*/ 813 h 1565"/>
              <a:gd name="T6" fmla="*/ 1686 w 2187"/>
              <a:gd name="T7" fmla="*/ 1335 h 1565"/>
              <a:gd name="T8" fmla="*/ 1279 w 2187"/>
              <a:gd name="T9" fmla="*/ 1509 h 1565"/>
              <a:gd name="T10" fmla="*/ 1151 w 2187"/>
              <a:gd name="T11" fmla="*/ 1303 h 1565"/>
              <a:gd name="T12" fmla="*/ 1378 w 2187"/>
              <a:gd name="T13" fmla="*/ 785 h 1565"/>
              <a:gd name="T14" fmla="*/ 840 w 2187"/>
              <a:gd name="T15" fmla="*/ 735 h 1565"/>
              <a:gd name="T16" fmla="*/ 840 w 2187"/>
              <a:gd name="T17" fmla="*/ 76 h 1565"/>
              <a:gd name="T18" fmla="*/ 1724 w 2187"/>
              <a:gd name="T19" fmla="*/ 9 h 1565"/>
              <a:gd name="T20" fmla="*/ 2045 w 2187"/>
              <a:gd name="T21" fmla="*/ 109 h 1565"/>
              <a:gd name="T22" fmla="*/ 2180 w 2187"/>
              <a:gd name="T23" fmla="*/ 379 h 1565"/>
              <a:gd name="T24" fmla="*/ 2121 w 2187"/>
              <a:gd name="T25" fmla="*/ 628 h 1565"/>
              <a:gd name="T26" fmla="*/ 0 w 2187"/>
              <a:gd name="T27" fmla="*/ 635 h 1565"/>
              <a:gd name="T28" fmla="*/ 27 w 2187"/>
              <a:gd name="T29" fmla="*/ 640 h 1565"/>
              <a:gd name="T30" fmla="*/ 253 w 2187"/>
              <a:gd name="T31" fmla="*/ 553 h 1565"/>
              <a:gd name="T32" fmla="*/ 480 w 2187"/>
              <a:gd name="T33" fmla="*/ 640 h 1565"/>
              <a:gd name="T34" fmla="*/ 707 w 2187"/>
              <a:gd name="T35" fmla="*/ 553 h 1565"/>
              <a:gd name="T36" fmla="*/ 760 w 2187"/>
              <a:gd name="T37" fmla="*/ 562 h 1565"/>
              <a:gd name="T38" fmla="*/ 760 w 2187"/>
              <a:gd name="T39" fmla="*/ 649 h 1565"/>
              <a:gd name="T40" fmla="*/ 707 w 2187"/>
              <a:gd name="T41" fmla="*/ 633 h 1565"/>
              <a:gd name="T42" fmla="*/ 480 w 2187"/>
              <a:gd name="T43" fmla="*/ 720 h 1565"/>
              <a:gd name="T44" fmla="*/ 253 w 2187"/>
              <a:gd name="T45" fmla="*/ 633 h 1565"/>
              <a:gd name="T46" fmla="*/ 27 w 2187"/>
              <a:gd name="T47" fmla="*/ 720 h 1565"/>
              <a:gd name="T48" fmla="*/ 0 w 2187"/>
              <a:gd name="T49" fmla="*/ 717 h 1565"/>
              <a:gd name="T50" fmla="*/ 0 w 2187"/>
              <a:gd name="T51" fmla="*/ 635 h 1565"/>
              <a:gd name="T52" fmla="*/ 0 w 2187"/>
              <a:gd name="T53" fmla="*/ 435 h 1565"/>
              <a:gd name="T54" fmla="*/ 27 w 2187"/>
              <a:gd name="T55" fmla="*/ 440 h 1565"/>
              <a:gd name="T56" fmla="*/ 253 w 2187"/>
              <a:gd name="T57" fmla="*/ 353 h 1565"/>
              <a:gd name="T58" fmla="*/ 480 w 2187"/>
              <a:gd name="T59" fmla="*/ 440 h 1565"/>
              <a:gd name="T60" fmla="*/ 707 w 2187"/>
              <a:gd name="T61" fmla="*/ 353 h 1565"/>
              <a:gd name="T62" fmla="*/ 760 w 2187"/>
              <a:gd name="T63" fmla="*/ 362 h 1565"/>
              <a:gd name="T64" fmla="*/ 760 w 2187"/>
              <a:gd name="T65" fmla="*/ 449 h 1565"/>
              <a:gd name="T66" fmla="*/ 707 w 2187"/>
              <a:gd name="T67" fmla="*/ 433 h 1565"/>
              <a:gd name="T68" fmla="*/ 480 w 2187"/>
              <a:gd name="T69" fmla="*/ 520 h 1565"/>
              <a:gd name="T70" fmla="*/ 253 w 2187"/>
              <a:gd name="T71" fmla="*/ 433 h 1565"/>
              <a:gd name="T72" fmla="*/ 27 w 2187"/>
              <a:gd name="T73" fmla="*/ 520 h 1565"/>
              <a:gd name="T74" fmla="*/ 0 w 2187"/>
              <a:gd name="T75" fmla="*/ 517 h 1565"/>
              <a:gd name="T76" fmla="*/ 0 w 2187"/>
              <a:gd name="T77" fmla="*/ 435 h 1565"/>
              <a:gd name="T78" fmla="*/ 0 w 2187"/>
              <a:gd name="T79" fmla="*/ 235 h 1565"/>
              <a:gd name="T80" fmla="*/ 27 w 2187"/>
              <a:gd name="T81" fmla="*/ 240 h 1565"/>
              <a:gd name="T82" fmla="*/ 253 w 2187"/>
              <a:gd name="T83" fmla="*/ 153 h 1565"/>
              <a:gd name="T84" fmla="*/ 480 w 2187"/>
              <a:gd name="T85" fmla="*/ 240 h 1565"/>
              <a:gd name="T86" fmla="*/ 707 w 2187"/>
              <a:gd name="T87" fmla="*/ 153 h 1565"/>
              <a:gd name="T88" fmla="*/ 760 w 2187"/>
              <a:gd name="T89" fmla="*/ 162 h 1565"/>
              <a:gd name="T90" fmla="*/ 760 w 2187"/>
              <a:gd name="T91" fmla="*/ 249 h 1565"/>
              <a:gd name="T92" fmla="*/ 707 w 2187"/>
              <a:gd name="T93" fmla="*/ 233 h 1565"/>
              <a:gd name="T94" fmla="*/ 480 w 2187"/>
              <a:gd name="T95" fmla="*/ 320 h 1565"/>
              <a:gd name="T96" fmla="*/ 253 w 2187"/>
              <a:gd name="T97" fmla="*/ 233 h 1565"/>
              <a:gd name="T98" fmla="*/ 27 w 2187"/>
              <a:gd name="T99" fmla="*/ 320 h 1565"/>
              <a:gd name="T100" fmla="*/ 0 w 2187"/>
              <a:gd name="T101" fmla="*/ 317 h 1565"/>
              <a:gd name="T102" fmla="*/ 0 w 2187"/>
              <a:gd name="T103" fmla="*/ 235 h 15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187" h="1565">
                <a:moveTo>
                  <a:pt x="2121" y="628"/>
                </a:moveTo>
                <a:cubicBezTo>
                  <a:pt x="2080" y="692"/>
                  <a:pt x="2021" y="743"/>
                  <a:pt x="1952" y="775"/>
                </a:cubicBezTo>
                <a:cubicBezTo>
                  <a:pt x="1934" y="784"/>
                  <a:pt x="1922" y="795"/>
                  <a:pt x="1914" y="813"/>
                </a:cubicBezTo>
                <a:cubicBezTo>
                  <a:pt x="1686" y="1335"/>
                  <a:pt x="1686" y="1335"/>
                  <a:pt x="1686" y="1335"/>
                </a:cubicBezTo>
                <a:cubicBezTo>
                  <a:pt x="1616" y="1495"/>
                  <a:pt x="1441" y="1565"/>
                  <a:pt x="1279" y="1509"/>
                </a:cubicBezTo>
                <a:cubicBezTo>
                  <a:pt x="1192" y="1479"/>
                  <a:pt x="1108" y="1402"/>
                  <a:pt x="1151" y="1303"/>
                </a:cubicBezTo>
                <a:cubicBezTo>
                  <a:pt x="1378" y="785"/>
                  <a:pt x="1378" y="785"/>
                  <a:pt x="1378" y="785"/>
                </a:cubicBezTo>
                <a:cubicBezTo>
                  <a:pt x="840" y="735"/>
                  <a:pt x="840" y="735"/>
                  <a:pt x="840" y="735"/>
                </a:cubicBezTo>
                <a:cubicBezTo>
                  <a:pt x="840" y="76"/>
                  <a:pt x="840" y="76"/>
                  <a:pt x="840" y="76"/>
                </a:cubicBezTo>
                <a:cubicBezTo>
                  <a:pt x="1724" y="9"/>
                  <a:pt x="1724" y="9"/>
                  <a:pt x="1724" y="9"/>
                </a:cubicBezTo>
                <a:cubicBezTo>
                  <a:pt x="1840" y="0"/>
                  <a:pt x="1956" y="33"/>
                  <a:pt x="2045" y="109"/>
                </a:cubicBezTo>
                <a:cubicBezTo>
                  <a:pt x="2121" y="174"/>
                  <a:pt x="2172" y="267"/>
                  <a:pt x="2180" y="379"/>
                </a:cubicBezTo>
                <a:cubicBezTo>
                  <a:pt x="2187" y="466"/>
                  <a:pt x="2168" y="553"/>
                  <a:pt x="2121" y="628"/>
                </a:cubicBezTo>
                <a:close/>
                <a:moveTo>
                  <a:pt x="0" y="635"/>
                </a:moveTo>
                <a:cubicBezTo>
                  <a:pt x="9" y="638"/>
                  <a:pt x="18" y="640"/>
                  <a:pt x="27" y="640"/>
                </a:cubicBezTo>
                <a:cubicBezTo>
                  <a:pt x="90" y="640"/>
                  <a:pt x="164" y="553"/>
                  <a:pt x="253" y="553"/>
                </a:cubicBezTo>
                <a:cubicBezTo>
                  <a:pt x="342" y="553"/>
                  <a:pt x="416" y="640"/>
                  <a:pt x="480" y="640"/>
                </a:cubicBezTo>
                <a:cubicBezTo>
                  <a:pt x="544" y="640"/>
                  <a:pt x="618" y="553"/>
                  <a:pt x="707" y="553"/>
                </a:cubicBezTo>
                <a:cubicBezTo>
                  <a:pt x="725" y="553"/>
                  <a:pt x="743" y="557"/>
                  <a:pt x="760" y="562"/>
                </a:cubicBezTo>
                <a:cubicBezTo>
                  <a:pt x="760" y="649"/>
                  <a:pt x="760" y="649"/>
                  <a:pt x="760" y="649"/>
                </a:cubicBezTo>
                <a:cubicBezTo>
                  <a:pt x="741" y="640"/>
                  <a:pt x="723" y="633"/>
                  <a:pt x="707" y="633"/>
                </a:cubicBezTo>
                <a:cubicBezTo>
                  <a:pt x="643" y="633"/>
                  <a:pt x="569" y="720"/>
                  <a:pt x="480" y="720"/>
                </a:cubicBezTo>
                <a:cubicBezTo>
                  <a:pt x="391" y="720"/>
                  <a:pt x="317" y="633"/>
                  <a:pt x="253" y="633"/>
                </a:cubicBezTo>
                <a:cubicBezTo>
                  <a:pt x="190" y="633"/>
                  <a:pt x="116" y="720"/>
                  <a:pt x="27" y="720"/>
                </a:cubicBezTo>
                <a:cubicBezTo>
                  <a:pt x="18" y="720"/>
                  <a:pt x="9" y="719"/>
                  <a:pt x="0" y="717"/>
                </a:cubicBezTo>
                <a:lnTo>
                  <a:pt x="0" y="635"/>
                </a:lnTo>
                <a:close/>
                <a:moveTo>
                  <a:pt x="0" y="435"/>
                </a:moveTo>
                <a:cubicBezTo>
                  <a:pt x="9" y="438"/>
                  <a:pt x="18" y="440"/>
                  <a:pt x="27" y="440"/>
                </a:cubicBezTo>
                <a:cubicBezTo>
                  <a:pt x="90" y="440"/>
                  <a:pt x="164" y="353"/>
                  <a:pt x="253" y="353"/>
                </a:cubicBezTo>
                <a:cubicBezTo>
                  <a:pt x="342" y="353"/>
                  <a:pt x="416" y="440"/>
                  <a:pt x="480" y="440"/>
                </a:cubicBezTo>
                <a:cubicBezTo>
                  <a:pt x="544" y="440"/>
                  <a:pt x="618" y="353"/>
                  <a:pt x="707" y="353"/>
                </a:cubicBezTo>
                <a:cubicBezTo>
                  <a:pt x="725" y="353"/>
                  <a:pt x="743" y="357"/>
                  <a:pt x="760" y="362"/>
                </a:cubicBezTo>
                <a:cubicBezTo>
                  <a:pt x="760" y="449"/>
                  <a:pt x="760" y="449"/>
                  <a:pt x="760" y="449"/>
                </a:cubicBezTo>
                <a:cubicBezTo>
                  <a:pt x="741" y="440"/>
                  <a:pt x="723" y="433"/>
                  <a:pt x="707" y="433"/>
                </a:cubicBezTo>
                <a:cubicBezTo>
                  <a:pt x="643" y="433"/>
                  <a:pt x="569" y="520"/>
                  <a:pt x="480" y="520"/>
                </a:cubicBezTo>
                <a:cubicBezTo>
                  <a:pt x="391" y="520"/>
                  <a:pt x="317" y="433"/>
                  <a:pt x="253" y="433"/>
                </a:cubicBezTo>
                <a:cubicBezTo>
                  <a:pt x="190" y="433"/>
                  <a:pt x="116" y="520"/>
                  <a:pt x="27" y="520"/>
                </a:cubicBezTo>
                <a:cubicBezTo>
                  <a:pt x="18" y="520"/>
                  <a:pt x="9" y="519"/>
                  <a:pt x="0" y="517"/>
                </a:cubicBezTo>
                <a:lnTo>
                  <a:pt x="0" y="435"/>
                </a:lnTo>
                <a:close/>
                <a:moveTo>
                  <a:pt x="0" y="235"/>
                </a:moveTo>
                <a:cubicBezTo>
                  <a:pt x="9" y="238"/>
                  <a:pt x="18" y="240"/>
                  <a:pt x="27" y="240"/>
                </a:cubicBezTo>
                <a:cubicBezTo>
                  <a:pt x="90" y="240"/>
                  <a:pt x="164" y="153"/>
                  <a:pt x="253" y="153"/>
                </a:cubicBezTo>
                <a:cubicBezTo>
                  <a:pt x="342" y="153"/>
                  <a:pt x="416" y="240"/>
                  <a:pt x="480" y="240"/>
                </a:cubicBezTo>
                <a:cubicBezTo>
                  <a:pt x="544" y="240"/>
                  <a:pt x="618" y="153"/>
                  <a:pt x="707" y="153"/>
                </a:cubicBezTo>
                <a:cubicBezTo>
                  <a:pt x="725" y="153"/>
                  <a:pt x="743" y="157"/>
                  <a:pt x="760" y="162"/>
                </a:cubicBezTo>
                <a:cubicBezTo>
                  <a:pt x="760" y="249"/>
                  <a:pt x="760" y="249"/>
                  <a:pt x="760" y="249"/>
                </a:cubicBezTo>
                <a:cubicBezTo>
                  <a:pt x="741" y="240"/>
                  <a:pt x="723" y="233"/>
                  <a:pt x="707" y="233"/>
                </a:cubicBezTo>
                <a:cubicBezTo>
                  <a:pt x="643" y="233"/>
                  <a:pt x="569" y="320"/>
                  <a:pt x="480" y="320"/>
                </a:cubicBezTo>
                <a:cubicBezTo>
                  <a:pt x="391" y="320"/>
                  <a:pt x="317" y="233"/>
                  <a:pt x="253" y="233"/>
                </a:cubicBezTo>
                <a:cubicBezTo>
                  <a:pt x="190" y="233"/>
                  <a:pt x="116" y="320"/>
                  <a:pt x="27" y="320"/>
                </a:cubicBezTo>
                <a:cubicBezTo>
                  <a:pt x="18" y="320"/>
                  <a:pt x="9" y="319"/>
                  <a:pt x="0" y="317"/>
                </a:cubicBezTo>
                <a:lnTo>
                  <a:pt x="0" y="23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1333">
              <a:solidFill>
                <a:srgbClr val="000000"/>
              </a:solidFill>
            </a:endParaRPr>
          </a:p>
        </p:txBody>
      </p:sp>
      <p:sp>
        <p:nvSpPr>
          <p:cNvPr id="66" name="Title 2"/>
          <p:cNvSpPr>
            <a:spLocks noGrp="1"/>
          </p:cNvSpPr>
          <p:nvPr>
            <p:ph type="title"/>
          </p:nvPr>
        </p:nvSpPr>
        <p:spPr>
          <a:xfrm>
            <a:off x="431802" y="260648"/>
            <a:ext cx="8447617" cy="647403"/>
          </a:xfrm>
        </p:spPr>
        <p:txBody>
          <a:bodyPr/>
          <a:lstStyle/>
          <a:p>
            <a:r>
              <a:rPr lang="nl-NL" dirty="0"/>
              <a:t>In welke panels zijn wij actief?</a:t>
            </a:r>
          </a:p>
        </p:txBody>
      </p:sp>
    </p:spTree>
    <p:extLst>
      <p:ext uri="{BB962C8B-B14F-4D97-AF65-F5344CB8AC3E}">
        <p14:creationId xmlns:p14="http://schemas.microsoft.com/office/powerpoint/2010/main" val="34073909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0EE7EC-E3A5-4E25-A50B-3F90B9B554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F3E29E4-0979-4FCA-B4C5-5FC6044C982A}" type="slidenum">
              <a:rPr lang="en-US" smtClean="0"/>
              <a:t>4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6F08715-F0FF-4B13-87FF-5532EB1D57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4738" y="406717"/>
            <a:ext cx="7910158" cy="648000"/>
          </a:xfrm>
        </p:spPr>
        <p:txBody>
          <a:bodyPr/>
          <a:lstStyle/>
          <a:p>
            <a:r>
              <a:rPr lang="en-US" dirty="0" err="1"/>
              <a:t>Audiomarkt</a:t>
            </a:r>
            <a:r>
              <a:rPr lang="en-US" dirty="0"/>
              <a:t> (x € </a:t>
            </a:r>
            <a:r>
              <a:rPr lang="en-US" dirty="0" err="1"/>
              <a:t>mln</a:t>
            </a:r>
            <a:r>
              <a:rPr lang="en-US" dirty="0"/>
              <a:t>) </a:t>
            </a:r>
            <a:r>
              <a:rPr lang="en-US" dirty="0" err="1"/>
              <a:t>nader</a:t>
            </a:r>
            <a:r>
              <a:rPr lang="en-US" dirty="0"/>
              <a:t> </a:t>
            </a:r>
            <a:r>
              <a:rPr lang="en-US" dirty="0" err="1"/>
              <a:t>bekeken</a:t>
            </a:r>
            <a:endParaRPr lang="en-NL" dirty="0"/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263A560A-F207-4FA0-9158-6DB3C30740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17136372"/>
              </p:ext>
            </p:extLst>
          </p:nvPr>
        </p:nvGraphicFramePr>
        <p:xfrm>
          <a:off x="1074738" y="1630363"/>
          <a:ext cx="10098088" cy="482092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2524522">
                  <a:extLst>
                    <a:ext uri="{9D8B030D-6E8A-4147-A177-3AD203B41FA5}">
                      <a16:colId xmlns:a16="http://schemas.microsoft.com/office/drawing/2014/main" val="2288210532"/>
                    </a:ext>
                  </a:extLst>
                </a:gridCol>
                <a:gridCol w="2524522">
                  <a:extLst>
                    <a:ext uri="{9D8B030D-6E8A-4147-A177-3AD203B41FA5}">
                      <a16:colId xmlns:a16="http://schemas.microsoft.com/office/drawing/2014/main" val="3834941260"/>
                    </a:ext>
                  </a:extLst>
                </a:gridCol>
                <a:gridCol w="2524522">
                  <a:extLst>
                    <a:ext uri="{9D8B030D-6E8A-4147-A177-3AD203B41FA5}">
                      <a16:colId xmlns:a16="http://schemas.microsoft.com/office/drawing/2014/main" val="3339681755"/>
                    </a:ext>
                  </a:extLst>
                </a:gridCol>
                <a:gridCol w="2524522">
                  <a:extLst>
                    <a:ext uri="{9D8B030D-6E8A-4147-A177-3AD203B41FA5}">
                      <a16:colId xmlns:a16="http://schemas.microsoft.com/office/drawing/2014/main" val="348220640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YTD </a:t>
                      </a:r>
                      <a:r>
                        <a:rPr lang="en-US" b="1" dirty="0" err="1"/>
                        <a:t>okt</a:t>
                      </a:r>
                      <a:r>
                        <a:rPr lang="en-US" b="1" dirty="0"/>
                        <a:t>. 2018</a:t>
                      </a:r>
                      <a:endParaRPr lang="en-NL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YTD </a:t>
                      </a:r>
                      <a:r>
                        <a:rPr lang="en-US" b="1" dirty="0" err="1"/>
                        <a:t>okt</a:t>
                      </a:r>
                      <a:r>
                        <a:rPr lang="en-US" b="1" dirty="0"/>
                        <a:t>. 2019</a:t>
                      </a:r>
                      <a:endParaRPr lang="en-NL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%</a:t>
                      </a:r>
                      <a:endParaRPr lang="en-NL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22550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nl-NL" sz="1200" b="1" i="0" noProof="0" dirty="0">
                          <a:solidFill>
                            <a:schemeClr val="tx1"/>
                          </a:solidFill>
                        </a:rPr>
                        <a:t>Fysiek</a:t>
                      </a:r>
                      <a:endParaRPr lang="en-US" sz="1200" b="1" i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L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57921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l-NL" sz="1100" baseline="0" noProof="0" dirty="0">
                          <a:solidFill>
                            <a:schemeClr val="tx1"/>
                          </a:solidFill>
                        </a:rPr>
                        <a:t>    CD’s</a:t>
                      </a:r>
                      <a:endParaRPr lang="en-US" sz="11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€ 26,1</a:t>
                      </a:r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€ 22,8</a:t>
                      </a:r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 13%</a:t>
                      </a:r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6817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100" noProof="0" dirty="0">
                          <a:solidFill>
                            <a:schemeClr val="tx1"/>
                          </a:solidFill>
                        </a:rPr>
                        <a:t>    Vinyl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€ 12,9</a:t>
                      </a:r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€ 15,1</a:t>
                      </a:r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+ 17%</a:t>
                      </a:r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47433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100" noProof="0" dirty="0">
                          <a:solidFill>
                            <a:schemeClr val="tx1"/>
                          </a:solidFill>
                        </a:rPr>
                        <a:t>    DVD/Blu-ray music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€ 1,2</a:t>
                      </a:r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€ 0,9</a:t>
                      </a:r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 25%</a:t>
                      </a:r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9445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100" noProof="0" dirty="0">
                          <a:solidFill>
                            <a:schemeClr val="tx1"/>
                          </a:solidFill>
                        </a:rPr>
                        <a:t>    Singles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€ 0,24</a:t>
                      </a:r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€ 0,29</a:t>
                      </a:r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+ 22%</a:t>
                      </a:r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4749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nl-NL" sz="1100" b="1" baseline="0" noProof="0" dirty="0">
                          <a:solidFill>
                            <a:schemeClr val="tx1"/>
                          </a:solidFill>
                        </a:rPr>
                        <a:t>    Totaal</a:t>
                      </a:r>
                      <a:endParaRPr lang="en-US" sz="11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€ </a:t>
                      </a:r>
                      <a:r>
                        <a:rPr lang="en-US" b="1" dirty="0"/>
                        <a:t>40,4</a:t>
                      </a:r>
                      <a:endParaRPr lang="en-NL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€ </a:t>
                      </a:r>
                      <a:r>
                        <a:rPr lang="en-US" b="1" dirty="0"/>
                        <a:t>39,1</a:t>
                      </a:r>
                      <a:endParaRPr lang="en-NL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- 3%</a:t>
                      </a:r>
                      <a:endParaRPr lang="en-NL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99780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200" b="1" i="0" noProof="0" dirty="0">
                          <a:solidFill>
                            <a:schemeClr val="tx1"/>
                          </a:solidFill>
                        </a:rPr>
                        <a:t>Downloads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L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L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19259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nl-NL" sz="1100" baseline="0" noProof="0" dirty="0">
                          <a:solidFill>
                            <a:schemeClr val="tx1"/>
                          </a:solidFill>
                        </a:rPr>
                        <a:t>    Albums</a:t>
                      </a:r>
                      <a:endParaRPr lang="en-US" sz="11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€ 3,9</a:t>
                      </a:r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€ 3,0</a:t>
                      </a:r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 24%</a:t>
                      </a:r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31667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nl-NL" sz="1100" baseline="0" noProof="0" dirty="0">
                          <a:solidFill>
                            <a:schemeClr val="tx1"/>
                          </a:solidFill>
                        </a:rPr>
                        <a:t>    Tracks</a:t>
                      </a:r>
                      <a:endParaRPr lang="en-US" sz="11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€ 3,0</a:t>
                      </a:r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€ 2,7</a:t>
                      </a:r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 10%</a:t>
                      </a:r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32621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nl-NL" sz="1100" b="1" baseline="0" noProof="0" dirty="0">
                          <a:solidFill>
                            <a:schemeClr val="tx1"/>
                          </a:solidFill>
                        </a:rPr>
                        <a:t>    Totaal</a:t>
                      </a:r>
                      <a:endParaRPr lang="en-US" sz="11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€ </a:t>
                      </a:r>
                      <a:r>
                        <a:rPr lang="en-US" b="1" dirty="0"/>
                        <a:t>6,9</a:t>
                      </a:r>
                      <a:endParaRPr lang="en-NL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€ </a:t>
                      </a:r>
                      <a:r>
                        <a:rPr lang="en-US" b="1" dirty="0"/>
                        <a:t>5,7</a:t>
                      </a:r>
                      <a:endParaRPr lang="en-NL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- 18%</a:t>
                      </a:r>
                      <a:endParaRPr lang="en-NL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29978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nl-NL" sz="1200" b="1" i="0" noProof="0" dirty="0">
                          <a:solidFill>
                            <a:schemeClr val="tx1"/>
                          </a:solidFill>
                        </a:rPr>
                        <a:t>Streams </a:t>
                      </a:r>
                      <a:r>
                        <a:rPr lang="nl-NL" sz="1000" b="0" i="0" noProof="0" dirty="0">
                          <a:solidFill>
                            <a:schemeClr val="tx1"/>
                          </a:solidFill>
                        </a:rPr>
                        <a:t>(premium &amp; free, in mld</a:t>
                      </a:r>
                      <a:r>
                        <a:rPr lang="nl-NL" sz="1000" b="0" i="0" baseline="0" noProof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l-NL" sz="1000" b="0" i="0" noProof="0" dirty="0">
                          <a:solidFill>
                            <a:schemeClr val="tx1"/>
                          </a:solidFill>
                        </a:rPr>
                        <a:t>units)</a:t>
                      </a:r>
                      <a:endParaRPr lang="en-US" sz="1000" b="0" i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L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L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NL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83993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nl-NL" sz="1100" b="1" baseline="0" noProof="0" dirty="0">
                          <a:solidFill>
                            <a:schemeClr val="tx1"/>
                          </a:solidFill>
                        </a:rPr>
                        <a:t>    Totaal</a:t>
                      </a:r>
                      <a:endParaRPr lang="en-US" sz="11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4,7</a:t>
                      </a:r>
                      <a:endParaRPr lang="en-NL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30,5</a:t>
                      </a:r>
                      <a:endParaRPr lang="en-NL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4%</a:t>
                      </a:r>
                      <a:endParaRPr lang="en-NL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73531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13296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/>
              <a:t>Evolutie</a:t>
            </a:r>
            <a:r>
              <a:rPr lang="en-US" dirty="0"/>
              <a:t> </a:t>
            </a:r>
            <a:r>
              <a:rPr lang="en-US" dirty="0" err="1"/>
              <a:t>aanpalende</a:t>
            </a:r>
            <a:r>
              <a:rPr lang="en-US" dirty="0"/>
              <a:t> (</a:t>
            </a:r>
            <a:r>
              <a:rPr lang="en-US" dirty="0" err="1"/>
              <a:t>fysieke</a:t>
            </a:r>
            <a:r>
              <a:rPr lang="en-US" dirty="0"/>
              <a:t>) </a:t>
            </a:r>
            <a:r>
              <a:rPr lang="en-US" dirty="0" err="1"/>
              <a:t>markten</a:t>
            </a:r>
            <a:endParaRPr lang="en-US" dirty="0"/>
          </a:p>
        </p:txBody>
      </p:sp>
      <p:sp>
        <p:nvSpPr>
          <p:cNvPr id="5" name="Rechteck 4"/>
          <p:cNvSpPr/>
          <p:nvPr>
            <p:custDataLst>
              <p:tags r:id="rId1"/>
            </p:custDataLst>
          </p:nvPr>
        </p:nvSpPr>
        <p:spPr bwMode="gray">
          <a:xfrm>
            <a:off x="9552385" y="1892299"/>
            <a:ext cx="2207815" cy="44174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algn="ctr"/>
            <a:r>
              <a:rPr lang="en-US" sz="2133" b="1" dirty="0">
                <a:solidFill>
                  <a:schemeClr val="tx1"/>
                </a:solidFill>
              </a:rPr>
              <a:t>%</a:t>
            </a:r>
          </a:p>
        </p:txBody>
      </p:sp>
      <p:sp>
        <p:nvSpPr>
          <p:cNvPr id="11" name="Rechteck 10"/>
          <p:cNvSpPr/>
          <p:nvPr>
            <p:custDataLst>
              <p:tags r:id="rId2"/>
            </p:custDataLst>
          </p:nvPr>
        </p:nvSpPr>
        <p:spPr bwMode="gray">
          <a:xfrm>
            <a:off x="9214000" y="2853085"/>
            <a:ext cx="25462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6000" bIns="96000" rtlCol="0" anchor="ctr"/>
          <a:lstStyle/>
          <a:p>
            <a:pPr algn="ctr"/>
            <a:r>
              <a:rPr lang="en-US" sz="3200" b="1" dirty="0">
                <a:solidFill>
                  <a:schemeClr val="accent3"/>
                </a:solidFill>
              </a:rPr>
              <a:t>+ 2% </a:t>
            </a:r>
          </a:p>
        </p:txBody>
      </p:sp>
      <p:sp>
        <p:nvSpPr>
          <p:cNvPr id="12" name="Rechteck 11"/>
          <p:cNvSpPr/>
          <p:nvPr>
            <p:custDataLst>
              <p:tags r:id="rId3"/>
            </p:custDataLst>
          </p:nvPr>
        </p:nvSpPr>
        <p:spPr bwMode="gray">
          <a:xfrm>
            <a:off x="9214000" y="3717032"/>
            <a:ext cx="25462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6000" bIns="96000" rtlCol="0" anchor="ctr"/>
          <a:lstStyle/>
          <a:p>
            <a:pPr algn="ctr"/>
            <a:r>
              <a:rPr lang="en-US" sz="3200" b="1" dirty="0">
                <a:solidFill>
                  <a:schemeClr val="accent3"/>
                </a:solidFill>
              </a:rPr>
              <a:t>- 23%</a:t>
            </a:r>
          </a:p>
        </p:txBody>
      </p:sp>
      <p:sp>
        <p:nvSpPr>
          <p:cNvPr id="33" name="Freeform 653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433222" y="3007895"/>
            <a:ext cx="571373" cy="494400"/>
          </a:xfrm>
          <a:custGeom>
            <a:avLst/>
            <a:gdLst>
              <a:gd name="T0" fmla="*/ 760 w 2080"/>
              <a:gd name="T1" fmla="*/ 1668 h 1800"/>
              <a:gd name="T2" fmla="*/ 454 w 2080"/>
              <a:gd name="T3" fmla="*/ 1722 h 1800"/>
              <a:gd name="T4" fmla="*/ 40 w 2080"/>
              <a:gd name="T5" fmla="*/ 1800 h 1800"/>
              <a:gd name="T6" fmla="*/ 0 w 2080"/>
              <a:gd name="T7" fmla="*/ 1800 h 1800"/>
              <a:gd name="T8" fmla="*/ 0 w 2080"/>
              <a:gd name="T9" fmla="*/ 264 h 1800"/>
              <a:gd name="T10" fmla="*/ 142 w 2080"/>
              <a:gd name="T11" fmla="*/ 122 h 1800"/>
              <a:gd name="T12" fmla="*/ 160 w 2080"/>
              <a:gd name="T13" fmla="*/ 120 h 1800"/>
              <a:gd name="T14" fmla="*/ 160 w 2080"/>
              <a:gd name="T15" fmla="*/ 1563 h 1800"/>
              <a:gd name="T16" fmla="*/ 237 w 2080"/>
              <a:gd name="T17" fmla="*/ 1558 h 1800"/>
              <a:gd name="T18" fmla="*/ 576 w 2080"/>
              <a:gd name="T19" fmla="*/ 1496 h 1800"/>
              <a:gd name="T20" fmla="*/ 793 w 2080"/>
              <a:gd name="T21" fmla="*/ 1446 h 1800"/>
              <a:gd name="T22" fmla="*/ 1014 w 2080"/>
              <a:gd name="T23" fmla="*/ 1535 h 1800"/>
              <a:gd name="T24" fmla="*/ 1039 w 2080"/>
              <a:gd name="T25" fmla="*/ 1556 h 1800"/>
              <a:gd name="T26" fmla="*/ 1065 w 2080"/>
              <a:gd name="T27" fmla="*/ 1535 h 1800"/>
              <a:gd name="T28" fmla="*/ 1286 w 2080"/>
              <a:gd name="T29" fmla="*/ 1446 h 1800"/>
              <a:gd name="T30" fmla="*/ 1503 w 2080"/>
              <a:gd name="T31" fmla="*/ 1496 h 1800"/>
              <a:gd name="T32" fmla="*/ 1849 w 2080"/>
              <a:gd name="T33" fmla="*/ 1558 h 1800"/>
              <a:gd name="T34" fmla="*/ 1920 w 2080"/>
              <a:gd name="T35" fmla="*/ 1562 h 1800"/>
              <a:gd name="T36" fmla="*/ 1920 w 2080"/>
              <a:gd name="T37" fmla="*/ 120 h 1800"/>
              <a:gd name="T38" fmla="*/ 1938 w 2080"/>
              <a:gd name="T39" fmla="*/ 122 h 1800"/>
              <a:gd name="T40" fmla="*/ 2080 w 2080"/>
              <a:gd name="T41" fmla="*/ 264 h 1800"/>
              <a:gd name="T42" fmla="*/ 2080 w 2080"/>
              <a:gd name="T43" fmla="*/ 1800 h 1800"/>
              <a:gd name="T44" fmla="*/ 2040 w 2080"/>
              <a:gd name="T45" fmla="*/ 1800 h 1800"/>
              <a:gd name="T46" fmla="*/ 1610 w 2080"/>
              <a:gd name="T47" fmla="*/ 1722 h 1800"/>
              <a:gd name="T48" fmla="*/ 1320 w 2080"/>
              <a:gd name="T49" fmla="*/ 1669 h 1800"/>
              <a:gd name="T50" fmla="*/ 1320 w 2080"/>
              <a:gd name="T51" fmla="*/ 1680 h 1800"/>
              <a:gd name="T52" fmla="*/ 1200 w 2080"/>
              <a:gd name="T53" fmla="*/ 1800 h 1800"/>
              <a:gd name="T54" fmla="*/ 880 w 2080"/>
              <a:gd name="T55" fmla="*/ 1800 h 1800"/>
              <a:gd name="T56" fmla="*/ 760 w 2080"/>
              <a:gd name="T57" fmla="*/ 1680 h 1800"/>
              <a:gd name="T58" fmla="*/ 760 w 2080"/>
              <a:gd name="T59" fmla="*/ 1668 h 1800"/>
              <a:gd name="T60" fmla="*/ 240 w 2080"/>
              <a:gd name="T61" fmla="*/ 114 h 1800"/>
              <a:gd name="T62" fmla="*/ 260 w 2080"/>
              <a:gd name="T63" fmla="*/ 112 h 1800"/>
              <a:gd name="T64" fmla="*/ 550 w 2080"/>
              <a:gd name="T65" fmla="*/ 54 h 1800"/>
              <a:gd name="T66" fmla="*/ 793 w 2080"/>
              <a:gd name="T67" fmla="*/ 0 h 1800"/>
              <a:gd name="T68" fmla="*/ 1000 w 2080"/>
              <a:gd name="T69" fmla="*/ 60 h 1800"/>
              <a:gd name="T70" fmla="*/ 1000 w 2080"/>
              <a:gd name="T71" fmla="*/ 1427 h 1800"/>
              <a:gd name="T72" fmla="*/ 793 w 2080"/>
              <a:gd name="T73" fmla="*/ 1366 h 1800"/>
              <a:gd name="T74" fmla="*/ 550 w 2080"/>
              <a:gd name="T75" fmla="*/ 1420 h 1800"/>
              <a:gd name="T76" fmla="*/ 240 w 2080"/>
              <a:gd name="T77" fmla="*/ 1478 h 1800"/>
              <a:gd name="T78" fmla="*/ 240 w 2080"/>
              <a:gd name="T79" fmla="*/ 114 h 1800"/>
              <a:gd name="T80" fmla="*/ 1080 w 2080"/>
              <a:gd name="T81" fmla="*/ 60 h 1800"/>
              <a:gd name="T82" fmla="*/ 1286 w 2080"/>
              <a:gd name="T83" fmla="*/ 0 h 1800"/>
              <a:gd name="T84" fmla="*/ 1529 w 2080"/>
              <a:gd name="T85" fmla="*/ 54 h 1800"/>
              <a:gd name="T86" fmla="*/ 1813 w 2080"/>
              <a:gd name="T87" fmla="*/ 111 h 1800"/>
              <a:gd name="T88" fmla="*/ 1840 w 2080"/>
              <a:gd name="T89" fmla="*/ 113 h 1800"/>
              <a:gd name="T90" fmla="*/ 1840 w 2080"/>
              <a:gd name="T91" fmla="*/ 1478 h 1800"/>
              <a:gd name="T92" fmla="*/ 1529 w 2080"/>
              <a:gd name="T93" fmla="*/ 1420 h 1800"/>
              <a:gd name="T94" fmla="*/ 1286 w 2080"/>
              <a:gd name="T95" fmla="*/ 1366 h 1800"/>
              <a:gd name="T96" fmla="*/ 1080 w 2080"/>
              <a:gd name="T97" fmla="*/ 1426 h 1800"/>
              <a:gd name="T98" fmla="*/ 1080 w 2080"/>
              <a:gd name="T99" fmla="*/ 60 h 1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080" h="1800">
                <a:moveTo>
                  <a:pt x="760" y="1668"/>
                </a:moveTo>
                <a:cubicBezTo>
                  <a:pt x="695" y="1654"/>
                  <a:pt x="581" y="1686"/>
                  <a:pt x="454" y="1722"/>
                </a:cubicBezTo>
                <a:cubicBezTo>
                  <a:pt x="321" y="1759"/>
                  <a:pt x="175" y="1800"/>
                  <a:pt x="40" y="1800"/>
                </a:cubicBezTo>
                <a:cubicBezTo>
                  <a:pt x="0" y="1800"/>
                  <a:pt x="0" y="1800"/>
                  <a:pt x="0" y="1800"/>
                </a:cubicBezTo>
                <a:cubicBezTo>
                  <a:pt x="0" y="264"/>
                  <a:pt x="0" y="264"/>
                  <a:pt x="0" y="264"/>
                </a:cubicBezTo>
                <a:cubicBezTo>
                  <a:pt x="142" y="122"/>
                  <a:pt x="142" y="122"/>
                  <a:pt x="142" y="122"/>
                </a:cubicBezTo>
                <a:cubicBezTo>
                  <a:pt x="148" y="121"/>
                  <a:pt x="154" y="120"/>
                  <a:pt x="160" y="120"/>
                </a:cubicBezTo>
                <a:cubicBezTo>
                  <a:pt x="160" y="1563"/>
                  <a:pt x="160" y="1563"/>
                  <a:pt x="160" y="1563"/>
                </a:cubicBezTo>
                <a:cubicBezTo>
                  <a:pt x="186" y="1561"/>
                  <a:pt x="211" y="1560"/>
                  <a:pt x="237" y="1558"/>
                </a:cubicBezTo>
                <a:cubicBezTo>
                  <a:pt x="367" y="1550"/>
                  <a:pt x="452" y="1538"/>
                  <a:pt x="576" y="1496"/>
                </a:cubicBezTo>
                <a:cubicBezTo>
                  <a:pt x="647" y="1472"/>
                  <a:pt x="721" y="1446"/>
                  <a:pt x="793" y="1446"/>
                </a:cubicBezTo>
                <a:cubicBezTo>
                  <a:pt x="879" y="1446"/>
                  <a:pt x="949" y="1481"/>
                  <a:pt x="1014" y="1535"/>
                </a:cubicBezTo>
                <a:cubicBezTo>
                  <a:pt x="1039" y="1556"/>
                  <a:pt x="1039" y="1556"/>
                  <a:pt x="1039" y="1556"/>
                </a:cubicBezTo>
                <a:cubicBezTo>
                  <a:pt x="1065" y="1535"/>
                  <a:pt x="1065" y="1535"/>
                  <a:pt x="1065" y="1535"/>
                </a:cubicBezTo>
                <a:cubicBezTo>
                  <a:pt x="1130" y="1481"/>
                  <a:pt x="1200" y="1446"/>
                  <a:pt x="1286" y="1446"/>
                </a:cubicBezTo>
                <a:cubicBezTo>
                  <a:pt x="1358" y="1446"/>
                  <a:pt x="1432" y="1472"/>
                  <a:pt x="1503" y="1496"/>
                </a:cubicBezTo>
                <a:cubicBezTo>
                  <a:pt x="1628" y="1539"/>
                  <a:pt x="1717" y="1550"/>
                  <a:pt x="1849" y="1558"/>
                </a:cubicBezTo>
                <a:cubicBezTo>
                  <a:pt x="1920" y="1562"/>
                  <a:pt x="1920" y="1562"/>
                  <a:pt x="1920" y="1562"/>
                </a:cubicBezTo>
                <a:cubicBezTo>
                  <a:pt x="1920" y="120"/>
                  <a:pt x="1920" y="120"/>
                  <a:pt x="1920" y="120"/>
                </a:cubicBezTo>
                <a:cubicBezTo>
                  <a:pt x="1926" y="120"/>
                  <a:pt x="1932" y="121"/>
                  <a:pt x="1938" y="122"/>
                </a:cubicBezTo>
                <a:cubicBezTo>
                  <a:pt x="2080" y="264"/>
                  <a:pt x="2080" y="264"/>
                  <a:pt x="2080" y="264"/>
                </a:cubicBezTo>
                <a:cubicBezTo>
                  <a:pt x="2080" y="1800"/>
                  <a:pt x="2080" y="1800"/>
                  <a:pt x="2080" y="1800"/>
                </a:cubicBezTo>
                <a:cubicBezTo>
                  <a:pt x="2040" y="1800"/>
                  <a:pt x="2040" y="1800"/>
                  <a:pt x="2040" y="1800"/>
                </a:cubicBezTo>
                <a:cubicBezTo>
                  <a:pt x="1902" y="1800"/>
                  <a:pt x="1748" y="1759"/>
                  <a:pt x="1610" y="1722"/>
                </a:cubicBezTo>
                <a:cubicBezTo>
                  <a:pt x="1487" y="1689"/>
                  <a:pt x="1378" y="1660"/>
                  <a:pt x="1320" y="1669"/>
                </a:cubicBezTo>
                <a:cubicBezTo>
                  <a:pt x="1320" y="1680"/>
                  <a:pt x="1320" y="1680"/>
                  <a:pt x="1320" y="1680"/>
                </a:cubicBezTo>
                <a:cubicBezTo>
                  <a:pt x="1320" y="1746"/>
                  <a:pt x="1266" y="1800"/>
                  <a:pt x="1200" y="1800"/>
                </a:cubicBezTo>
                <a:cubicBezTo>
                  <a:pt x="880" y="1800"/>
                  <a:pt x="880" y="1800"/>
                  <a:pt x="880" y="1800"/>
                </a:cubicBezTo>
                <a:cubicBezTo>
                  <a:pt x="814" y="1800"/>
                  <a:pt x="760" y="1746"/>
                  <a:pt x="760" y="1680"/>
                </a:cubicBezTo>
                <a:lnTo>
                  <a:pt x="760" y="1668"/>
                </a:lnTo>
                <a:close/>
                <a:moveTo>
                  <a:pt x="240" y="114"/>
                </a:moveTo>
                <a:cubicBezTo>
                  <a:pt x="246" y="113"/>
                  <a:pt x="253" y="113"/>
                  <a:pt x="260" y="112"/>
                </a:cubicBezTo>
                <a:cubicBezTo>
                  <a:pt x="373" y="105"/>
                  <a:pt x="443" y="91"/>
                  <a:pt x="550" y="54"/>
                </a:cubicBezTo>
                <a:cubicBezTo>
                  <a:pt x="628" y="28"/>
                  <a:pt x="708" y="0"/>
                  <a:pt x="793" y="0"/>
                </a:cubicBezTo>
                <a:cubicBezTo>
                  <a:pt x="869" y="0"/>
                  <a:pt x="937" y="22"/>
                  <a:pt x="1000" y="60"/>
                </a:cubicBezTo>
                <a:cubicBezTo>
                  <a:pt x="1000" y="1427"/>
                  <a:pt x="1000" y="1427"/>
                  <a:pt x="1000" y="1427"/>
                </a:cubicBezTo>
                <a:cubicBezTo>
                  <a:pt x="937" y="1388"/>
                  <a:pt x="868" y="1366"/>
                  <a:pt x="793" y="1366"/>
                </a:cubicBezTo>
                <a:cubicBezTo>
                  <a:pt x="708" y="1366"/>
                  <a:pt x="628" y="1394"/>
                  <a:pt x="550" y="1420"/>
                </a:cubicBezTo>
                <a:cubicBezTo>
                  <a:pt x="437" y="1459"/>
                  <a:pt x="359" y="1471"/>
                  <a:pt x="240" y="1478"/>
                </a:cubicBezTo>
                <a:lnTo>
                  <a:pt x="240" y="114"/>
                </a:lnTo>
                <a:close/>
                <a:moveTo>
                  <a:pt x="1080" y="60"/>
                </a:moveTo>
                <a:cubicBezTo>
                  <a:pt x="1142" y="22"/>
                  <a:pt x="1210" y="0"/>
                  <a:pt x="1286" y="0"/>
                </a:cubicBezTo>
                <a:cubicBezTo>
                  <a:pt x="1371" y="0"/>
                  <a:pt x="1451" y="28"/>
                  <a:pt x="1529" y="54"/>
                </a:cubicBezTo>
                <a:cubicBezTo>
                  <a:pt x="1632" y="90"/>
                  <a:pt x="1702" y="104"/>
                  <a:pt x="1813" y="111"/>
                </a:cubicBezTo>
                <a:cubicBezTo>
                  <a:pt x="1822" y="112"/>
                  <a:pt x="1831" y="112"/>
                  <a:pt x="1840" y="113"/>
                </a:cubicBezTo>
                <a:cubicBezTo>
                  <a:pt x="1840" y="1478"/>
                  <a:pt x="1840" y="1478"/>
                  <a:pt x="1840" y="1478"/>
                </a:cubicBezTo>
                <a:cubicBezTo>
                  <a:pt x="1722" y="1470"/>
                  <a:pt x="1641" y="1459"/>
                  <a:pt x="1529" y="1420"/>
                </a:cubicBezTo>
                <a:cubicBezTo>
                  <a:pt x="1451" y="1394"/>
                  <a:pt x="1371" y="1366"/>
                  <a:pt x="1286" y="1366"/>
                </a:cubicBezTo>
                <a:cubicBezTo>
                  <a:pt x="1212" y="1366"/>
                  <a:pt x="1143" y="1388"/>
                  <a:pt x="1080" y="1426"/>
                </a:cubicBezTo>
                <a:lnTo>
                  <a:pt x="1080" y="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36" name="Freeform 28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431371" y="5641692"/>
            <a:ext cx="576000" cy="576000"/>
          </a:xfrm>
          <a:custGeom>
            <a:avLst/>
            <a:gdLst>
              <a:gd name="T0" fmla="*/ 1040 w 2080"/>
              <a:gd name="T1" fmla="*/ 824 h 2080"/>
              <a:gd name="T2" fmla="*/ 1256 w 2080"/>
              <a:gd name="T3" fmla="*/ 1040 h 2080"/>
              <a:gd name="T4" fmla="*/ 1040 w 2080"/>
              <a:gd name="T5" fmla="*/ 1256 h 2080"/>
              <a:gd name="T6" fmla="*/ 824 w 2080"/>
              <a:gd name="T7" fmla="*/ 1040 h 2080"/>
              <a:gd name="T8" fmla="*/ 1040 w 2080"/>
              <a:gd name="T9" fmla="*/ 824 h 2080"/>
              <a:gd name="T10" fmla="*/ 1040 w 2080"/>
              <a:gd name="T11" fmla="*/ 904 h 2080"/>
              <a:gd name="T12" fmla="*/ 904 w 2080"/>
              <a:gd name="T13" fmla="*/ 1040 h 2080"/>
              <a:gd name="T14" fmla="*/ 1040 w 2080"/>
              <a:gd name="T15" fmla="*/ 1176 h 2080"/>
              <a:gd name="T16" fmla="*/ 1176 w 2080"/>
              <a:gd name="T17" fmla="*/ 1040 h 2080"/>
              <a:gd name="T18" fmla="*/ 1040 w 2080"/>
              <a:gd name="T19" fmla="*/ 904 h 2080"/>
              <a:gd name="T20" fmla="*/ 1040 w 2080"/>
              <a:gd name="T21" fmla="*/ 0 h 2080"/>
              <a:gd name="T22" fmla="*/ 2080 w 2080"/>
              <a:gd name="T23" fmla="*/ 1040 h 2080"/>
              <a:gd name="T24" fmla="*/ 1040 w 2080"/>
              <a:gd name="T25" fmla="*/ 2080 h 2080"/>
              <a:gd name="T26" fmla="*/ 0 w 2080"/>
              <a:gd name="T27" fmla="*/ 1040 h 2080"/>
              <a:gd name="T28" fmla="*/ 1040 w 2080"/>
              <a:gd name="T29" fmla="*/ 0 h 2080"/>
              <a:gd name="T30" fmla="*/ 1190 w 2080"/>
              <a:gd name="T31" fmla="*/ 614 h 2080"/>
              <a:gd name="T32" fmla="*/ 1262 w 2080"/>
              <a:gd name="T33" fmla="*/ 647 h 2080"/>
              <a:gd name="T34" fmla="*/ 1476 w 2080"/>
              <a:gd name="T35" fmla="*/ 176 h 2080"/>
              <a:gd name="T36" fmla="*/ 1404 w 2080"/>
              <a:gd name="T37" fmla="*/ 144 h 2080"/>
              <a:gd name="T38" fmla="*/ 1190 w 2080"/>
              <a:gd name="T39" fmla="*/ 614 h 2080"/>
              <a:gd name="T40" fmla="*/ 1445 w 2080"/>
              <a:gd name="T41" fmla="*/ 839 h 2080"/>
              <a:gd name="T42" fmla="*/ 1474 w 2080"/>
              <a:gd name="T43" fmla="*/ 913 h 2080"/>
              <a:gd name="T44" fmla="*/ 1955 w 2080"/>
              <a:gd name="T45" fmla="*/ 725 h 2080"/>
              <a:gd name="T46" fmla="*/ 1926 w 2080"/>
              <a:gd name="T47" fmla="*/ 651 h 2080"/>
              <a:gd name="T48" fmla="*/ 1445 w 2080"/>
              <a:gd name="T49" fmla="*/ 839 h 2080"/>
              <a:gd name="T50" fmla="*/ 890 w 2080"/>
              <a:gd name="T51" fmla="*/ 1466 h 2080"/>
              <a:gd name="T52" fmla="*/ 818 w 2080"/>
              <a:gd name="T53" fmla="*/ 1433 h 2080"/>
              <a:gd name="T54" fmla="*/ 604 w 2080"/>
              <a:gd name="T55" fmla="*/ 1904 h 2080"/>
              <a:gd name="T56" fmla="*/ 676 w 2080"/>
              <a:gd name="T57" fmla="*/ 1936 h 2080"/>
              <a:gd name="T58" fmla="*/ 890 w 2080"/>
              <a:gd name="T59" fmla="*/ 1466 h 2080"/>
              <a:gd name="T60" fmla="*/ 635 w 2080"/>
              <a:gd name="T61" fmla="*/ 1241 h 2080"/>
              <a:gd name="T62" fmla="*/ 606 w 2080"/>
              <a:gd name="T63" fmla="*/ 1167 h 2080"/>
              <a:gd name="T64" fmla="*/ 125 w 2080"/>
              <a:gd name="T65" fmla="*/ 1355 h 2080"/>
              <a:gd name="T66" fmla="*/ 154 w 2080"/>
              <a:gd name="T67" fmla="*/ 1429 h 2080"/>
              <a:gd name="T68" fmla="*/ 635 w 2080"/>
              <a:gd name="T69" fmla="*/ 1241 h 2080"/>
              <a:gd name="T70" fmla="*/ 1040 w 2080"/>
              <a:gd name="T71" fmla="*/ 668 h 2080"/>
              <a:gd name="T72" fmla="*/ 668 w 2080"/>
              <a:gd name="T73" fmla="*/ 1040 h 2080"/>
              <a:gd name="T74" fmla="*/ 1040 w 2080"/>
              <a:gd name="T75" fmla="*/ 1412 h 2080"/>
              <a:gd name="T76" fmla="*/ 1412 w 2080"/>
              <a:gd name="T77" fmla="*/ 1040 h 2080"/>
              <a:gd name="T78" fmla="*/ 1040 w 2080"/>
              <a:gd name="T79" fmla="*/ 668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080" h="2080">
                <a:moveTo>
                  <a:pt x="1040" y="824"/>
                </a:moveTo>
                <a:cubicBezTo>
                  <a:pt x="1160" y="824"/>
                  <a:pt x="1256" y="920"/>
                  <a:pt x="1256" y="1040"/>
                </a:cubicBezTo>
                <a:cubicBezTo>
                  <a:pt x="1256" y="1160"/>
                  <a:pt x="1160" y="1256"/>
                  <a:pt x="1040" y="1256"/>
                </a:cubicBezTo>
                <a:cubicBezTo>
                  <a:pt x="920" y="1256"/>
                  <a:pt x="824" y="1160"/>
                  <a:pt x="824" y="1040"/>
                </a:cubicBezTo>
                <a:cubicBezTo>
                  <a:pt x="824" y="920"/>
                  <a:pt x="920" y="824"/>
                  <a:pt x="1040" y="824"/>
                </a:cubicBezTo>
                <a:close/>
                <a:moveTo>
                  <a:pt x="1040" y="904"/>
                </a:moveTo>
                <a:cubicBezTo>
                  <a:pt x="965" y="904"/>
                  <a:pt x="904" y="965"/>
                  <a:pt x="904" y="1040"/>
                </a:cubicBezTo>
                <a:cubicBezTo>
                  <a:pt x="904" y="1115"/>
                  <a:pt x="965" y="1176"/>
                  <a:pt x="1040" y="1176"/>
                </a:cubicBezTo>
                <a:cubicBezTo>
                  <a:pt x="1115" y="1176"/>
                  <a:pt x="1176" y="1115"/>
                  <a:pt x="1176" y="1040"/>
                </a:cubicBezTo>
                <a:cubicBezTo>
                  <a:pt x="1176" y="965"/>
                  <a:pt x="1115" y="904"/>
                  <a:pt x="1040" y="904"/>
                </a:cubicBezTo>
                <a:close/>
                <a:moveTo>
                  <a:pt x="1040" y="0"/>
                </a:moveTo>
                <a:cubicBezTo>
                  <a:pt x="1614" y="0"/>
                  <a:pt x="2080" y="466"/>
                  <a:pt x="2080" y="1040"/>
                </a:cubicBezTo>
                <a:cubicBezTo>
                  <a:pt x="2080" y="1614"/>
                  <a:pt x="1614" y="2080"/>
                  <a:pt x="1040" y="2080"/>
                </a:cubicBezTo>
                <a:cubicBezTo>
                  <a:pt x="466" y="2080"/>
                  <a:pt x="0" y="1614"/>
                  <a:pt x="0" y="1040"/>
                </a:cubicBezTo>
                <a:cubicBezTo>
                  <a:pt x="0" y="466"/>
                  <a:pt x="466" y="0"/>
                  <a:pt x="1040" y="0"/>
                </a:cubicBezTo>
                <a:close/>
                <a:moveTo>
                  <a:pt x="1190" y="614"/>
                </a:moveTo>
                <a:cubicBezTo>
                  <a:pt x="1215" y="623"/>
                  <a:pt x="1240" y="634"/>
                  <a:pt x="1262" y="647"/>
                </a:cubicBezTo>
                <a:cubicBezTo>
                  <a:pt x="1476" y="176"/>
                  <a:pt x="1476" y="176"/>
                  <a:pt x="1476" y="176"/>
                </a:cubicBezTo>
                <a:cubicBezTo>
                  <a:pt x="1404" y="144"/>
                  <a:pt x="1404" y="144"/>
                  <a:pt x="1404" y="144"/>
                </a:cubicBezTo>
                <a:lnTo>
                  <a:pt x="1190" y="614"/>
                </a:lnTo>
                <a:close/>
                <a:moveTo>
                  <a:pt x="1445" y="839"/>
                </a:moveTo>
                <a:cubicBezTo>
                  <a:pt x="1456" y="863"/>
                  <a:pt x="1466" y="888"/>
                  <a:pt x="1474" y="913"/>
                </a:cubicBezTo>
                <a:cubicBezTo>
                  <a:pt x="1955" y="725"/>
                  <a:pt x="1955" y="725"/>
                  <a:pt x="1955" y="725"/>
                </a:cubicBezTo>
                <a:cubicBezTo>
                  <a:pt x="1926" y="651"/>
                  <a:pt x="1926" y="651"/>
                  <a:pt x="1926" y="651"/>
                </a:cubicBezTo>
                <a:lnTo>
                  <a:pt x="1445" y="839"/>
                </a:lnTo>
                <a:close/>
                <a:moveTo>
                  <a:pt x="890" y="1466"/>
                </a:moveTo>
                <a:cubicBezTo>
                  <a:pt x="865" y="1457"/>
                  <a:pt x="840" y="1446"/>
                  <a:pt x="818" y="1433"/>
                </a:cubicBezTo>
                <a:cubicBezTo>
                  <a:pt x="604" y="1904"/>
                  <a:pt x="604" y="1904"/>
                  <a:pt x="604" y="1904"/>
                </a:cubicBezTo>
                <a:cubicBezTo>
                  <a:pt x="676" y="1936"/>
                  <a:pt x="676" y="1936"/>
                  <a:pt x="676" y="1936"/>
                </a:cubicBezTo>
                <a:lnTo>
                  <a:pt x="890" y="1466"/>
                </a:lnTo>
                <a:close/>
                <a:moveTo>
                  <a:pt x="635" y="1241"/>
                </a:moveTo>
                <a:cubicBezTo>
                  <a:pt x="624" y="1217"/>
                  <a:pt x="614" y="1192"/>
                  <a:pt x="606" y="1167"/>
                </a:cubicBezTo>
                <a:cubicBezTo>
                  <a:pt x="125" y="1355"/>
                  <a:pt x="125" y="1355"/>
                  <a:pt x="125" y="1355"/>
                </a:cubicBezTo>
                <a:cubicBezTo>
                  <a:pt x="154" y="1429"/>
                  <a:pt x="154" y="1429"/>
                  <a:pt x="154" y="1429"/>
                </a:cubicBezTo>
                <a:lnTo>
                  <a:pt x="635" y="1241"/>
                </a:lnTo>
                <a:close/>
                <a:moveTo>
                  <a:pt x="1040" y="668"/>
                </a:moveTo>
                <a:cubicBezTo>
                  <a:pt x="835" y="668"/>
                  <a:pt x="668" y="835"/>
                  <a:pt x="668" y="1040"/>
                </a:cubicBezTo>
                <a:cubicBezTo>
                  <a:pt x="668" y="1245"/>
                  <a:pt x="835" y="1412"/>
                  <a:pt x="1040" y="1412"/>
                </a:cubicBezTo>
                <a:cubicBezTo>
                  <a:pt x="1245" y="1412"/>
                  <a:pt x="1412" y="1245"/>
                  <a:pt x="1412" y="1040"/>
                </a:cubicBezTo>
                <a:cubicBezTo>
                  <a:pt x="1412" y="835"/>
                  <a:pt x="1245" y="668"/>
                  <a:pt x="1040" y="66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grpSp>
        <p:nvGrpSpPr>
          <p:cNvPr id="41" name="Group 95"/>
          <p:cNvGrpSpPr>
            <a:grpSpLocks noChangeAspect="1"/>
          </p:cNvGrpSpPr>
          <p:nvPr/>
        </p:nvGrpSpPr>
        <p:grpSpPr bwMode="auto">
          <a:xfrm>
            <a:off x="416882" y="3858728"/>
            <a:ext cx="604052" cy="545179"/>
            <a:chOff x="2928" y="2209"/>
            <a:chExt cx="513" cy="463"/>
          </a:xfrm>
          <a:solidFill>
            <a:schemeClr val="accent2"/>
          </a:solidFill>
        </p:grpSpPr>
        <p:sp>
          <p:nvSpPr>
            <p:cNvPr id="42" name="Freeform 96"/>
            <p:cNvSpPr>
              <a:spLocks noEditPoints="1"/>
            </p:cNvSpPr>
            <p:nvPr/>
          </p:nvSpPr>
          <p:spPr bwMode="auto">
            <a:xfrm>
              <a:off x="2928" y="2393"/>
              <a:ext cx="291" cy="279"/>
            </a:xfrm>
            <a:custGeom>
              <a:avLst/>
              <a:gdLst>
                <a:gd name="T0" fmla="*/ 141 w 334"/>
                <a:gd name="T1" fmla="*/ 201 h 319"/>
                <a:gd name="T2" fmla="*/ 211 w 334"/>
                <a:gd name="T3" fmla="*/ 232 h 319"/>
                <a:gd name="T4" fmla="*/ 311 w 334"/>
                <a:gd name="T5" fmla="*/ 238 h 319"/>
                <a:gd name="T6" fmla="*/ 306 w 334"/>
                <a:gd name="T7" fmla="*/ 130 h 319"/>
                <a:gd name="T8" fmla="*/ 294 w 334"/>
                <a:gd name="T9" fmla="*/ 101 h 319"/>
                <a:gd name="T10" fmla="*/ 231 w 334"/>
                <a:gd name="T11" fmla="*/ 113 h 319"/>
                <a:gd name="T12" fmla="*/ 218 w 334"/>
                <a:gd name="T13" fmla="*/ 132 h 319"/>
                <a:gd name="T14" fmla="*/ 206 w 334"/>
                <a:gd name="T15" fmla="*/ 128 h 319"/>
                <a:gd name="T16" fmla="*/ 180 w 334"/>
                <a:gd name="T17" fmla="*/ 115 h 319"/>
                <a:gd name="T18" fmla="*/ 180 w 334"/>
                <a:gd name="T19" fmla="*/ 104 h 319"/>
                <a:gd name="T20" fmla="*/ 172 w 334"/>
                <a:gd name="T21" fmla="*/ 4 h 319"/>
                <a:gd name="T22" fmla="*/ 159 w 334"/>
                <a:gd name="T23" fmla="*/ 26 h 319"/>
                <a:gd name="T24" fmla="*/ 169 w 334"/>
                <a:gd name="T25" fmla="*/ 81 h 319"/>
                <a:gd name="T26" fmla="*/ 149 w 334"/>
                <a:gd name="T27" fmla="*/ 115 h 319"/>
                <a:gd name="T28" fmla="*/ 127 w 334"/>
                <a:gd name="T29" fmla="*/ 128 h 319"/>
                <a:gd name="T30" fmla="*/ 96 w 334"/>
                <a:gd name="T31" fmla="*/ 119 h 319"/>
                <a:gd name="T32" fmla="*/ 83 w 334"/>
                <a:gd name="T33" fmla="*/ 101 h 319"/>
                <a:gd name="T34" fmla="*/ 20 w 334"/>
                <a:gd name="T35" fmla="*/ 113 h 319"/>
                <a:gd name="T36" fmla="*/ 0 w 334"/>
                <a:gd name="T37" fmla="*/ 186 h 319"/>
                <a:gd name="T38" fmla="*/ 84 w 334"/>
                <a:gd name="T39" fmla="*/ 316 h 319"/>
                <a:gd name="T40" fmla="*/ 251 w 334"/>
                <a:gd name="T41" fmla="*/ 142 h 319"/>
                <a:gd name="T42" fmla="*/ 276 w 334"/>
                <a:gd name="T43" fmla="*/ 142 h 319"/>
                <a:gd name="T44" fmla="*/ 266 w 334"/>
                <a:gd name="T45" fmla="*/ 154 h 319"/>
                <a:gd name="T46" fmla="*/ 256 w 334"/>
                <a:gd name="T47" fmla="*/ 152 h 319"/>
                <a:gd name="T48" fmla="*/ 251 w 334"/>
                <a:gd name="T49" fmla="*/ 142 h 319"/>
                <a:gd name="T50" fmla="*/ 264 w 334"/>
                <a:gd name="T51" fmla="*/ 214 h 319"/>
                <a:gd name="T52" fmla="*/ 264 w 334"/>
                <a:gd name="T53" fmla="*/ 239 h 319"/>
                <a:gd name="T54" fmla="*/ 209 w 334"/>
                <a:gd name="T55" fmla="*/ 184 h 319"/>
                <a:gd name="T56" fmla="*/ 234 w 334"/>
                <a:gd name="T57" fmla="*/ 184 h 319"/>
                <a:gd name="T58" fmla="*/ 209 w 334"/>
                <a:gd name="T59" fmla="*/ 184 h 319"/>
                <a:gd name="T60" fmla="*/ 29 w 334"/>
                <a:gd name="T61" fmla="*/ 202 h 319"/>
                <a:gd name="T62" fmla="*/ 13 w 334"/>
                <a:gd name="T63" fmla="*/ 186 h 319"/>
                <a:gd name="T64" fmla="*/ 29 w 334"/>
                <a:gd name="T65" fmla="*/ 170 h 319"/>
                <a:gd name="T66" fmla="*/ 45 w 334"/>
                <a:gd name="T67" fmla="*/ 184 h 319"/>
                <a:gd name="T68" fmla="*/ 98 w 334"/>
                <a:gd name="T69" fmla="*/ 186 h 319"/>
                <a:gd name="T70" fmla="*/ 129 w 334"/>
                <a:gd name="T71" fmla="*/ 186 h 319"/>
                <a:gd name="T72" fmla="*/ 98 w 334"/>
                <a:gd name="T73" fmla="*/ 186 h 319"/>
                <a:gd name="T74" fmla="*/ 71 w 334"/>
                <a:gd name="T75" fmla="*/ 128 h 319"/>
                <a:gd name="T76" fmla="*/ 87 w 334"/>
                <a:gd name="T77" fmla="*/ 144 h 319"/>
                <a:gd name="T78" fmla="*/ 71 w 334"/>
                <a:gd name="T79" fmla="*/ 159 h 319"/>
                <a:gd name="T80" fmla="*/ 58 w 334"/>
                <a:gd name="T81" fmla="*/ 152 h 319"/>
                <a:gd name="T82" fmla="*/ 70 w 334"/>
                <a:gd name="T83" fmla="*/ 213 h 319"/>
                <a:gd name="T84" fmla="*/ 87 w 334"/>
                <a:gd name="T85" fmla="*/ 226 h 319"/>
                <a:gd name="T86" fmla="*/ 71 w 334"/>
                <a:gd name="T87" fmla="*/ 244 h 319"/>
                <a:gd name="T88" fmla="*/ 70 w 334"/>
                <a:gd name="T89" fmla="*/ 213 h 319"/>
                <a:gd name="T90" fmla="*/ 313 w 334"/>
                <a:gd name="T91" fmla="*/ 195 h 319"/>
                <a:gd name="T92" fmla="*/ 293 w 334"/>
                <a:gd name="T93" fmla="*/ 184 h 319"/>
                <a:gd name="T94" fmla="*/ 312 w 334"/>
                <a:gd name="T95" fmla="*/ 173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34" h="319">
                  <a:moveTo>
                    <a:pt x="122" y="236"/>
                  </a:moveTo>
                  <a:cubicBezTo>
                    <a:pt x="132" y="226"/>
                    <a:pt x="138" y="214"/>
                    <a:pt x="141" y="201"/>
                  </a:cubicBezTo>
                  <a:cubicBezTo>
                    <a:pt x="159" y="198"/>
                    <a:pt x="178" y="198"/>
                    <a:pt x="196" y="203"/>
                  </a:cubicBezTo>
                  <a:cubicBezTo>
                    <a:pt x="199" y="214"/>
                    <a:pt x="204" y="224"/>
                    <a:pt x="211" y="232"/>
                  </a:cubicBezTo>
                  <a:cubicBezTo>
                    <a:pt x="212" y="268"/>
                    <a:pt x="204" y="312"/>
                    <a:pt x="249" y="316"/>
                  </a:cubicBezTo>
                  <a:cubicBezTo>
                    <a:pt x="290" y="319"/>
                    <a:pt x="306" y="278"/>
                    <a:pt x="311" y="238"/>
                  </a:cubicBezTo>
                  <a:cubicBezTo>
                    <a:pt x="325" y="225"/>
                    <a:pt x="334" y="206"/>
                    <a:pt x="334" y="186"/>
                  </a:cubicBezTo>
                  <a:cubicBezTo>
                    <a:pt x="334" y="163"/>
                    <a:pt x="323" y="143"/>
                    <a:pt x="306" y="130"/>
                  </a:cubicBezTo>
                  <a:cubicBezTo>
                    <a:pt x="306" y="113"/>
                    <a:pt x="306" y="113"/>
                    <a:pt x="306" y="113"/>
                  </a:cubicBezTo>
                  <a:cubicBezTo>
                    <a:pt x="306" y="106"/>
                    <a:pt x="301" y="101"/>
                    <a:pt x="294" y="101"/>
                  </a:cubicBezTo>
                  <a:cubicBezTo>
                    <a:pt x="243" y="101"/>
                    <a:pt x="243" y="101"/>
                    <a:pt x="243" y="101"/>
                  </a:cubicBezTo>
                  <a:cubicBezTo>
                    <a:pt x="236" y="101"/>
                    <a:pt x="231" y="106"/>
                    <a:pt x="231" y="113"/>
                  </a:cubicBezTo>
                  <a:cubicBezTo>
                    <a:pt x="231" y="124"/>
                    <a:pt x="231" y="124"/>
                    <a:pt x="231" y="124"/>
                  </a:cubicBezTo>
                  <a:cubicBezTo>
                    <a:pt x="226" y="126"/>
                    <a:pt x="222" y="129"/>
                    <a:pt x="218" y="132"/>
                  </a:cubicBezTo>
                  <a:cubicBezTo>
                    <a:pt x="214" y="131"/>
                    <a:pt x="210" y="130"/>
                    <a:pt x="206" y="129"/>
                  </a:cubicBezTo>
                  <a:cubicBezTo>
                    <a:pt x="206" y="128"/>
                    <a:pt x="206" y="128"/>
                    <a:pt x="206" y="128"/>
                  </a:cubicBezTo>
                  <a:cubicBezTo>
                    <a:pt x="206" y="121"/>
                    <a:pt x="200" y="115"/>
                    <a:pt x="193" y="115"/>
                  </a:cubicBezTo>
                  <a:cubicBezTo>
                    <a:pt x="180" y="115"/>
                    <a:pt x="180" y="115"/>
                    <a:pt x="180" y="115"/>
                  </a:cubicBezTo>
                  <a:cubicBezTo>
                    <a:pt x="177" y="113"/>
                    <a:pt x="174" y="110"/>
                    <a:pt x="174" y="108"/>
                  </a:cubicBezTo>
                  <a:cubicBezTo>
                    <a:pt x="174" y="107"/>
                    <a:pt x="176" y="106"/>
                    <a:pt x="180" y="104"/>
                  </a:cubicBezTo>
                  <a:cubicBezTo>
                    <a:pt x="197" y="97"/>
                    <a:pt x="207" y="82"/>
                    <a:pt x="208" y="64"/>
                  </a:cubicBezTo>
                  <a:cubicBezTo>
                    <a:pt x="209" y="41"/>
                    <a:pt x="195" y="17"/>
                    <a:pt x="172" y="4"/>
                  </a:cubicBezTo>
                  <a:cubicBezTo>
                    <a:pt x="166" y="0"/>
                    <a:pt x="158" y="2"/>
                    <a:pt x="155" y="8"/>
                  </a:cubicBezTo>
                  <a:cubicBezTo>
                    <a:pt x="151" y="15"/>
                    <a:pt x="153" y="23"/>
                    <a:pt x="159" y="26"/>
                  </a:cubicBezTo>
                  <a:cubicBezTo>
                    <a:pt x="176" y="36"/>
                    <a:pt x="183" y="51"/>
                    <a:pt x="182" y="62"/>
                  </a:cubicBezTo>
                  <a:cubicBezTo>
                    <a:pt x="182" y="68"/>
                    <a:pt x="179" y="76"/>
                    <a:pt x="169" y="81"/>
                  </a:cubicBezTo>
                  <a:cubicBezTo>
                    <a:pt x="153" y="88"/>
                    <a:pt x="148" y="98"/>
                    <a:pt x="148" y="106"/>
                  </a:cubicBezTo>
                  <a:cubicBezTo>
                    <a:pt x="148" y="109"/>
                    <a:pt x="148" y="112"/>
                    <a:pt x="149" y="115"/>
                  </a:cubicBezTo>
                  <a:cubicBezTo>
                    <a:pt x="140" y="115"/>
                    <a:pt x="140" y="115"/>
                    <a:pt x="140" y="115"/>
                  </a:cubicBezTo>
                  <a:cubicBezTo>
                    <a:pt x="133" y="115"/>
                    <a:pt x="127" y="121"/>
                    <a:pt x="127" y="128"/>
                  </a:cubicBezTo>
                  <a:cubicBezTo>
                    <a:pt x="123" y="129"/>
                    <a:pt x="120" y="130"/>
                    <a:pt x="116" y="130"/>
                  </a:cubicBezTo>
                  <a:cubicBezTo>
                    <a:pt x="110" y="126"/>
                    <a:pt x="104" y="122"/>
                    <a:pt x="96" y="119"/>
                  </a:cubicBezTo>
                  <a:cubicBezTo>
                    <a:pt x="96" y="113"/>
                    <a:pt x="96" y="113"/>
                    <a:pt x="96" y="113"/>
                  </a:cubicBezTo>
                  <a:cubicBezTo>
                    <a:pt x="96" y="106"/>
                    <a:pt x="91" y="101"/>
                    <a:pt x="83" y="101"/>
                  </a:cubicBezTo>
                  <a:cubicBezTo>
                    <a:pt x="33" y="101"/>
                    <a:pt x="33" y="101"/>
                    <a:pt x="33" y="101"/>
                  </a:cubicBezTo>
                  <a:cubicBezTo>
                    <a:pt x="26" y="101"/>
                    <a:pt x="20" y="106"/>
                    <a:pt x="20" y="11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8" y="149"/>
                    <a:pt x="0" y="166"/>
                    <a:pt x="0" y="186"/>
                  </a:cubicBezTo>
                  <a:cubicBezTo>
                    <a:pt x="0" y="206"/>
                    <a:pt x="9" y="225"/>
                    <a:pt x="23" y="238"/>
                  </a:cubicBezTo>
                  <a:cubicBezTo>
                    <a:pt x="28" y="278"/>
                    <a:pt x="43" y="319"/>
                    <a:pt x="84" y="316"/>
                  </a:cubicBezTo>
                  <a:cubicBezTo>
                    <a:pt x="128" y="312"/>
                    <a:pt x="122" y="271"/>
                    <a:pt x="122" y="236"/>
                  </a:cubicBezTo>
                  <a:close/>
                  <a:moveTo>
                    <a:pt x="251" y="142"/>
                  </a:moveTo>
                  <a:cubicBezTo>
                    <a:pt x="251" y="135"/>
                    <a:pt x="257" y="129"/>
                    <a:pt x="264" y="129"/>
                  </a:cubicBezTo>
                  <a:cubicBezTo>
                    <a:pt x="271" y="129"/>
                    <a:pt x="276" y="135"/>
                    <a:pt x="276" y="142"/>
                  </a:cubicBezTo>
                  <a:cubicBezTo>
                    <a:pt x="276" y="146"/>
                    <a:pt x="274" y="149"/>
                    <a:pt x="271" y="152"/>
                  </a:cubicBezTo>
                  <a:cubicBezTo>
                    <a:pt x="270" y="153"/>
                    <a:pt x="268" y="154"/>
                    <a:pt x="266" y="154"/>
                  </a:cubicBezTo>
                  <a:cubicBezTo>
                    <a:pt x="266" y="154"/>
                    <a:pt x="265" y="155"/>
                    <a:pt x="264" y="155"/>
                  </a:cubicBezTo>
                  <a:cubicBezTo>
                    <a:pt x="261" y="155"/>
                    <a:pt x="258" y="153"/>
                    <a:pt x="256" y="152"/>
                  </a:cubicBezTo>
                  <a:cubicBezTo>
                    <a:pt x="254" y="150"/>
                    <a:pt x="252" y="148"/>
                    <a:pt x="252" y="146"/>
                  </a:cubicBezTo>
                  <a:cubicBezTo>
                    <a:pt x="251" y="145"/>
                    <a:pt x="251" y="143"/>
                    <a:pt x="251" y="142"/>
                  </a:cubicBezTo>
                  <a:close/>
                  <a:moveTo>
                    <a:pt x="251" y="227"/>
                  </a:moveTo>
                  <a:cubicBezTo>
                    <a:pt x="251" y="220"/>
                    <a:pt x="257" y="214"/>
                    <a:pt x="264" y="214"/>
                  </a:cubicBezTo>
                  <a:cubicBezTo>
                    <a:pt x="271" y="214"/>
                    <a:pt x="276" y="220"/>
                    <a:pt x="276" y="227"/>
                  </a:cubicBezTo>
                  <a:cubicBezTo>
                    <a:pt x="276" y="233"/>
                    <a:pt x="271" y="239"/>
                    <a:pt x="264" y="239"/>
                  </a:cubicBezTo>
                  <a:cubicBezTo>
                    <a:pt x="257" y="239"/>
                    <a:pt x="251" y="233"/>
                    <a:pt x="251" y="227"/>
                  </a:cubicBezTo>
                  <a:close/>
                  <a:moveTo>
                    <a:pt x="209" y="184"/>
                  </a:moveTo>
                  <a:cubicBezTo>
                    <a:pt x="209" y="177"/>
                    <a:pt x="214" y="172"/>
                    <a:pt x="221" y="172"/>
                  </a:cubicBezTo>
                  <a:cubicBezTo>
                    <a:pt x="228" y="172"/>
                    <a:pt x="234" y="177"/>
                    <a:pt x="234" y="184"/>
                  </a:cubicBezTo>
                  <a:cubicBezTo>
                    <a:pt x="234" y="191"/>
                    <a:pt x="228" y="197"/>
                    <a:pt x="221" y="197"/>
                  </a:cubicBezTo>
                  <a:cubicBezTo>
                    <a:pt x="214" y="197"/>
                    <a:pt x="209" y="191"/>
                    <a:pt x="209" y="184"/>
                  </a:cubicBezTo>
                  <a:close/>
                  <a:moveTo>
                    <a:pt x="45" y="186"/>
                  </a:moveTo>
                  <a:cubicBezTo>
                    <a:pt x="45" y="195"/>
                    <a:pt x="38" y="202"/>
                    <a:pt x="29" y="202"/>
                  </a:cubicBezTo>
                  <a:cubicBezTo>
                    <a:pt x="26" y="202"/>
                    <a:pt x="23" y="201"/>
                    <a:pt x="20" y="199"/>
                  </a:cubicBezTo>
                  <a:cubicBezTo>
                    <a:pt x="16" y="196"/>
                    <a:pt x="13" y="191"/>
                    <a:pt x="13" y="186"/>
                  </a:cubicBezTo>
                  <a:cubicBezTo>
                    <a:pt x="13" y="180"/>
                    <a:pt x="16" y="175"/>
                    <a:pt x="21" y="172"/>
                  </a:cubicBezTo>
                  <a:cubicBezTo>
                    <a:pt x="23" y="171"/>
                    <a:pt x="26" y="170"/>
                    <a:pt x="29" y="170"/>
                  </a:cubicBezTo>
                  <a:cubicBezTo>
                    <a:pt x="32" y="170"/>
                    <a:pt x="34" y="171"/>
                    <a:pt x="36" y="172"/>
                  </a:cubicBezTo>
                  <a:cubicBezTo>
                    <a:pt x="41" y="174"/>
                    <a:pt x="44" y="179"/>
                    <a:pt x="45" y="184"/>
                  </a:cubicBezTo>
                  <a:cubicBezTo>
                    <a:pt x="45" y="185"/>
                    <a:pt x="45" y="185"/>
                    <a:pt x="45" y="186"/>
                  </a:cubicBezTo>
                  <a:close/>
                  <a:moveTo>
                    <a:pt x="98" y="186"/>
                  </a:moveTo>
                  <a:cubicBezTo>
                    <a:pt x="98" y="177"/>
                    <a:pt x="105" y="170"/>
                    <a:pt x="114" y="170"/>
                  </a:cubicBezTo>
                  <a:cubicBezTo>
                    <a:pt x="122" y="170"/>
                    <a:pt x="129" y="177"/>
                    <a:pt x="129" y="186"/>
                  </a:cubicBezTo>
                  <a:cubicBezTo>
                    <a:pt x="129" y="195"/>
                    <a:pt x="122" y="202"/>
                    <a:pt x="114" y="202"/>
                  </a:cubicBezTo>
                  <a:cubicBezTo>
                    <a:pt x="105" y="202"/>
                    <a:pt x="98" y="195"/>
                    <a:pt x="98" y="186"/>
                  </a:cubicBezTo>
                  <a:close/>
                  <a:moveTo>
                    <a:pt x="56" y="144"/>
                  </a:moveTo>
                  <a:cubicBezTo>
                    <a:pt x="56" y="135"/>
                    <a:pt x="63" y="128"/>
                    <a:pt x="71" y="128"/>
                  </a:cubicBezTo>
                  <a:cubicBezTo>
                    <a:pt x="79" y="128"/>
                    <a:pt x="85" y="133"/>
                    <a:pt x="87" y="140"/>
                  </a:cubicBezTo>
                  <a:cubicBezTo>
                    <a:pt x="87" y="141"/>
                    <a:pt x="87" y="142"/>
                    <a:pt x="87" y="144"/>
                  </a:cubicBezTo>
                  <a:cubicBezTo>
                    <a:pt x="87" y="146"/>
                    <a:pt x="86" y="149"/>
                    <a:pt x="85" y="152"/>
                  </a:cubicBezTo>
                  <a:cubicBezTo>
                    <a:pt x="82" y="156"/>
                    <a:pt x="77" y="159"/>
                    <a:pt x="71" y="159"/>
                  </a:cubicBezTo>
                  <a:cubicBezTo>
                    <a:pt x="67" y="159"/>
                    <a:pt x="63" y="157"/>
                    <a:pt x="60" y="154"/>
                  </a:cubicBezTo>
                  <a:cubicBezTo>
                    <a:pt x="59" y="154"/>
                    <a:pt x="59" y="153"/>
                    <a:pt x="58" y="152"/>
                  </a:cubicBezTo>
                  <a:cubicBezTo>
                    <a:pt x="56" y="149"/>
                    <a:pt x="56" y="147"/>
                    <a:pt x="56" y="144"/>
                  </a:cubicBezTo>
                  <a:close/>
                  <a:moveTo>
                    <a:pt x="70" y="213"/>
                  </a:moveTo>
                  <a:cubicBezTo>
                    <a:pt x="70" y="212"/>
                    <a:pt x="71" y="212"/>
                    <a:pt x="71" y="212"/>
                  </a:cubicBezTo>
                  <a:cubicBezTo>
                    <a:pt x="79" y="212"/>
                    <a:pt x="86" y="219"/>
                    <a:pt x="87" y="226"/>
                  </a:cubicBezTo>
                  <a:cubicBezTo>
                    <a:pt x="87" y="227"/>
                    <a:pt x="87" y="228"/>
                    <a:pt x="87" y="228"/>
                  </a:cubicBezTo>
                  <a:cubicBezTo>
                    <a:pt x="87" y="237"/>
                    <a:pt x="80" y="244"/>
                    <a:pt x="71" y="244"/>
                  </a:cubicBezTo>
                  <a:cubicBezTo>
                    <a:pt x="63" y="244"/>
                    <a:pt x="56" y="237"/>
                    <a:pt x="56" y="228"/>
                  </a:cubicBezTo>
                  <a:cubicBezTo>
                    <a:pt x="56" y="220"/>
                    <a:pt x="62" y="213"/>
                    <a:pt x="70" y="213"/>
                  </a:cubicBezTo>
                  <a:close/>
                  <a:moveTo>
                    <a:pt x="319" y="184"/>
                  </a:moveTo>
                  <a:cubicBezTo>
                    <a:pt x="319" y="189"/>
                    <a:pt x="316" y="192"/>
                    <a:pt x="313" y="195"/>
                  </a:cubicBezTo>
                  <a:cubicBezTo>
                    <a:pt x="311" y="196"/>
                    <a:pt x="309" y="197"/>
                    <a:pt x="306" y="197"/>
                  </a:cubicBezTo>
                  <a:cubicBezTo>
                    <a:pt x="299" y="197"/>
                    <a:pt x="293" y="191"/>
                    <a:pt x="293" y="184"/>
                  </a:cubicBezTo>
                  <a:cubicBezTo>
                    <a:pt x="293" y="177"/>
                    <a:pt x="299" y="172"/>
                    <a:pt x="306" y="172"/>
                  </a:cubicBezTo>
                  <a:cubicBezTo>
                    <a:pt x="308" y="172"/>
                    <a:pt x="310" y="172"/>
                    <a:pt x="312" y="173"/>
                  </a:cubicBezTo>
                  <a:cubicBezTo>
                    <a:pt x="316" y="176"/>
                    <a:pt x="319" y="180"/>
                    <a:pt x="319" y="1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Freeform 97"/>
            <p:cNvSpPr>
              <a:spLocks/>
            </p:cNvSpPr>
            <p:nvPr/>
          </p:nvSpPr>
          <p:spPr bwMode="auto">
            <a:xfrm>
              <a:off x="2984" y="2512"/>
              <a:ext cx="12" cy="10"/>
            </a:xfrm>
            <a:custGeom>
              <a:avLst/>
              <a:gdLst>
                <a:gd name="T0" fmla="*/ 2 w 14"/>
                <a:gd name="T1" fmla="*/ 12 h 12"/>
                <a:gd name="T2" fmla="*/ 7 w 14"/>
                <a:gd name="T3" fmla="*/ 12 h 12"/>
                <a:gd name="T4" fmla="*/ 13 w 14"/>
                <a:gd name="T5" fmla="*/ 12 h 12"/>
                <a:gd name="T6" fmla="*/ 14 w 14"/>
                <a:gd name="T7" fmla="*/ 10 h 12"/>
                <a:gd name="T8" fmla="*/ 13 w 14"/>
                <a:gd name="T9" fmla="*/ 9 h 12"/>
                <a:gd name="T10" fmla="*/ 9 w 14"/>
                <a:gd name="T11" fmla="*/ 1 h 12"/>
                <a:gd name="T12" fmla="*/ 6 w 14"/>
                <a:gd name="T13" fmla="*/ 1 h 12"/>
                <a:gd name="T14" fmla="*/ 1 w 14"/>
                <a:gd name="T15" fmla="*/ 10 h 12"/>
                <a:gd name="T16" fmla="*/ 2 w 14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2">
                  <a:moveTo>
                    <a:pt x="2" y="12"/>
                  </a:moveTo>
                  <a:cubicBezTo>
                    <a:pt x="7" y="12"/>
                    <a:pt x="7" y="12"/>
                    <a:pt x="7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4" y="12"/>
                    <a:pt x="14" y="11"/>
                    <a:pt x="14" y="10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0"/>
                    <a:pt x="7" y="0"/>
                    <a:pt x="6" y="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1"/>
                    <a:pt x="1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98"/>
            <p:cNvSpPr>
              <a:spLocks/>
            </p:cNvSpPr>
            <p:nvPr/>
          </p:nvSpPr>
          <p:spPr bwMode="auto">
            <a:xfrm>
              <a:off x="2946" y="2549"/>
              <a:ext cx="12" cy="13"/>
            </a:xfrm>
            <a:custGeom>
              <a:avLst/>
              <a:gdLst>
                <a:gd name="T0" fmla="*/ 10 w 13"/>
                <a:gd name="T1" fmla="*/ 0 h 14"/>
                <a:gd name="T2" fmla="*/ 1 w 13"/>
                <a:gd name="T3" fmla="*/ 6 h 14"/>
                <a:gd name="T4" fmla="*/ 1 w 13"/>
                <a:gd name="T5" fmla="*/ 8 h 14"/>
                <a:gd name="T6" fmla="*/ 10 w 13"/>
                <a:gd name="T7" fmla="*/ 13 h 14"/>
                <a:gd name="T8" fmla="*/ 13 w 13"/>
                <a:gd name="T9" fmla="*/ 12 h 14"/>
                <a:gd name="T10" fmla="*/ 13 w 13"/>
                <a:gd name="T11" fmla="*/ 2 h 14"/>
                <a:gd name="T12" fmla="*/ 10 w 13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4">
                  <a:moveTo>
                    <a:pt x="10" y="0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8"/>
                    <a:pt x="1" y="8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1" y="14"/>
                    <a:pt x="13" y="13"/>
                    <a:pt x="13" y="1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0"/>
                    <a:pt x="11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99"/>
            <p:cNvSpPr>
              <a:spLocks/>
            </p:cNvSpPr>
            <p:nvPr/>
          </p:nvSpPr>
          <p:spPr bwMode="auto">
            <a:xfrm>
              <a:off x="2984" y="2589"/>
              <a:ext cx="12" cy="10"/>
            </a:xfrm>
            <a:custGeom>
              <a:avLst/>
              <a:gdLst>
                <a:gd name="T0" fmla="*/ 6 w 14"/>
                <a:gd name="T1" fmla="*/ 11 h 12"/>
                <a:gd name="T2" fmla="*/ 9 w 14"/>
                <a:gd name="T3" fmla="*/ 11 h 12"/>
                <a:gd name="T4" fmla="*/ 14 w 14"/>
                <a:gd name="T5" fmla="*/ 2 h 12"/>
                <a:gd name="T6" fmla="*/ 13 w 14"/>
                <a:gd name="T7" fmla="*/ 0 h 12"/>
                <a:gd name="T8" fmla="*/ 2 w 14"/>
                <a:gd name="T9" fmla="*/ 0 h 12"/>
                <a:gd name="T10" fmla="*/ 1 w 14"/>
                <a:gd name="T11" fmla="*/ 2 h 12"/>
                <a:gd name="T12" fmla="*/ 6 w 14"/>
                <a:gd name="T1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2">
                  <a:moveTo>
                    <a:pt x="6" y="11"/>
                  </a:moveTo>
                  <a:cubicBezTo>
                    <a:pt x="7" y="12"/>
                    <a:pt x="8" y="12"/>
                    <a:pt x="9" y="11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1"/>
                    <a:pt x="14" y="0"/>
                    <a:pt x="1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1" y="2"/>
                  </a:cubicBezTo>
                  <a:lnTo>
                    <a:pt x="6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Freeform 100"/>
            <p:cNvSpPr>
              <a:spLocks/>
            </p:cNvSpPr>
            <p:nvPr/>
          </p:nvSpPr>
          <p:spPr bwMode="auto">
            <a:xfrm>
              <a:off x="3023" y="2549"/>
              <a:ext cx="11" cy="13"/>
            </a:xfrm>
            <a:custGeom>
              <a:avLst/>
              <a:gdLst>
                <a:gd name="T0" fmla="*/ 11 w 12"/>
                <a:gd name="T1" fmla="*/ 6 h 14"/>
                <a:gd name="T2" fmla="*/ 2 w 12"/>
                <a:gd name="T3" fmla="*/ 0 h 14"/>
                <a:gd name="T4" fmla="*/ 0 w 12"/>
                <a:gd name="T5" fmla="*/ 2 h 14"/>
                <a:gd name="T6" fmla="*/ 0 w 12"/>
                <a:gd name="T7" fmla="*/ 12 h 14"/>
                <a:gd name="T8" fmla="*/ 2 w 12"/>
                <a:gd name="T9" fmla="*/ 13 h 14"/>
                <a:gd name="T10" fmla="*/ 11 w 12"/>
                <a:gd name="T11" fmla="*/ 8 h 14"/>
                <a:gd name="T12" fmla="*/ 11 w 12"/>
                <a:gd name="T13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4">
                  <a:moveTo>
                    <a:pt x="11" y="6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1" y="14"/>
                    <a:pt x="2" y="13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2" y="8"/>
                    <a:pt x="12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101"/>
            <p:cNvSpPr>
              <a:spLocks/>
            </p:cNvSpPr>
            <p:nvPr/>
          </p:nvSpPr>
          <p:spPr bwMode="auto">
            <a:xfrm>
              <a:off x="3220" y="2559"/>
              <a:ext cx="221" cy="110"/>
            </a:xfrm>
            <a:custGeom>
              <a:avLst/>
              <a:gdLst>
                <a:gd name="T0" fmla="*/ 252 w 253"/>
                <a:gd name="T1" fmla="*/ 118 h 126"/>
                <a:gd name="T2" fmla="*/ 216 w 253"/>
                <a:gd name="T3" fmla="*/ 8 h 126"/>
                <a:gd name="T4" fmla="*/ 206 w 253"/>
                <a:gd name="T5" fmla="*/ 0 h 126"/>
                <a:gd name="T6" fmla="*/ 203 w 253"/>
                <a:gd name="T7" fmla="*/ 0 h 126"/>
                <a:gd name="T8" fmla="*/ 203 w 253"/>
                <a:gd name="T9" fmla="*/ 39 h 126"/>
                <a:gd name="T10" fmla="*/ 179 w 253"/>
                <a:gd name="T11" fmla="*/ 63 h 126"/>
                <a:gd name="T12" fmla="*/ 74 w 253"/>
                <a:gd name="T13" fmla="*/ 63 h 126"/>
                <a:gd name="T14" fmla="*/ 50 w 253"/>
                <a:gd name="T15" fmla="*/ 39 h 126"/>
                <a:gd name="T16" fmla="*/ 50 w 253"/>
                <a:gd name="T17" fmla="*/ 0 h 126"/>
                <a:gd name="T18" fmla="*/ 48 w 253"/>
                <a:gd name="T19" fmla="*/ 0 h 126"/>
                <a:gd name="T20" fmla="*/ 37 w 253"/>
                <a:gd name="T21" fmla="*/ 8 h 126"/>
                <a:gd name="T22" fmla="*/ 1 w 253"/>
                <a:gd name="T23" fmla="*/ 118 h 126"/>
                <a:gd name="T24" fmla="*/ 7 w 253"/>
                <a:gd name="T25" fmla="*/ 126 h 126"/>
                <a:gd name="T26" fmla="*/ 246 w 253"/>
                <a:gd name="T27" fmla="*/ 126 h 126"/>
                <a:gd name="T28" fmla="*/ 252 w 253"/>
                <a:gd name="T29" fmla="*/ 118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3" h="126">
                  <a:moveTo>
                    <a:pt x="252" y="118"/>
                  </a:moveTo>
                  <a:cubicBezTo>
                    <a:pt x="216" y="8"/>
                    <a:pt x="216" y="8"/>
                    <a:pt x="216" y="8"/>
                  </a:cubicBezTo>
                  <a:cubicBezTo>
                    <a:pt x="214" y="3"/>
                    <a:pt x="210" y="0"/>
                    <a:pt x="206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3" y="39"/>
                    <a:pt x="203" y="39"/>
                    <a:pt x="203" y="39"/>
                  </a:cubicBezTo>
                  <a:cubicBezTo>
                    <a:pt x="203" y="52"/>
                    <a:pt x="192" y="63"/>
                    <a:pt x="179" y="63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61" y="63"/>
                    <a:pt x="50" y="52"/>
                    <a:pt x="50" y="39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3" y="0"/>
                    <a:pt x="39" y="3"/>
                    <a:pt x="37" y="8"/>
                  </a:cubicBezTo>
                  <a:cubicBezTo>
                    <a:pt x="1" y="118"/>
                    <a:pt x="1" y="118"/>
                    <a:pt x="1" y="118"/>
                  </a:cubicBezTo>
                  <a:cubicBezTo>
                    <a:pt x="0" y="122"/>
                    <a:pt x="3" y="126"/>
                    <a:pt x="7" y="126"/>
                  </a:cubicBezTo>
                  <a:cubicBezTo>
                    <a:pt x="246" y="126"/>
                    <a:pt x="246" y="126"/>
                    <a:pt x="246" y="126"/>
                  </a:cubicBezTo>
                  <a:cubicBezTo>
                    <a:pt x="250" y="126"/>
                    <a:pt x="253" y="122"/>
                    <a:pt x="252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102"/>
            <p:cNvSpPr>
              <a:spLocks noEditPoints="1"/>
            </p:cNvSpPr>
            <p:nvPr/>
          </p:nvSpPr>
          <p:spPr bwMode="auto">
            <a:xfrm>
              <a:off x="3281" y="2209"/>
              <a:ext cx="99" cy="387"/>
            </a:xfrm>
            <a:custGeom>
              <a:avLst/>
              <a:gdLst>
                <a:gd name="T0" fmla="*/ 41 w 113"/>
                <a:gd name="T1" fmla="*/ 0 h 444"/>
                <a:gd name="T2" fmla="*/ 12 w 113"/>
                <a:gd name="T3" fmla="*/ 12 h 444"/>
                <a:gd name="T4" fmla="*/ 0 w 113"/>
                <a:gd name="T5" fmla="*/ 41 h 444"/>
                <a:gd name="T6" fmla="*/ 0 w 113"/>
                <a:gd name="T7" fmla="*/ 401 h 444"/>
                <a:gd name="T8" fmla="*/ 0 w 113"/>
                <a:gd name="T9" fmla="*/ 440 h 444"/>
                <a:gd name="T10" fmla="*/ 4 w 113"/>
                <a:gd name="T11" fmla="*/ 444 h 444"/>
                <a:gd name="T12" fmla="*/ 109 w 113"/>
                <a:gd name="T13" fmla="*/ 444 h 444"/>
                <a:gd name="T14" fmla="*/ 113 w 113"/>
                <a:gd name="T15" fmla="*/ 440 h 444"/>
                <a:gd name="T16" fmla="*/ 113 w 113"/>
                <a:gd name="T17" fmla="*/ 401 h 444"/>
                <a:gd name="T18" fmla="*/ 113 w 113"/>
                <a:gd name="T19" fmla="*/ 4 h 444"/>
                <a:gd name="T20" fmla="*/ 109 w 113"/>
                <a:gd name="T21" fmla="*/ 0 h 444"/>
                <a:gd name="T22" fmla="*/ 41 w 113"/>
                <a:gd name="T23" fmla="*/ 0 h 444"/>
                <a:gd name="T24" fmla="*/ 79 w 113"/>
                <a:gd name="T25" fmla="*/ 39 h 444"/>
                <a:gd name="T26" fmla="*/ 91 w 113"/>
                <a:gd name="T27" fmla="*/ 39 h 444"/>
                <a:gd name="T28" fmla="*/ 91 w 113"/>
                <a:gd name="T29" fmla="*/ 211 h 444"/>
                <a:gd name="T30" fmla="*/ 79 w 113"/>
                <a:gd name="T31" fmla="*/ 211 h 444"/>
                <a:gd name="T32" fmla="*/ 79 w 113"/>
                <a:gd name="T33" fmla="*/ 39 h 444"/>
                <a:gd name="T34" fmla="*/ 23 w 113"/>
                <a:gd name="T35" fmla="*/ 285 h 444"/>
                <a:gd name="T36" fmla="*/ 31 w 113"/>
                <a:gd name="T37" fmla="*/ 277 h 444"/>
                <a:gd name="T38" fmla="*/ 37 w 113"/>
                <a:gd name="T39" fmla="*/ 277 h 444"/>
                <a:gd name="T40" fmla="*/ 45 w 113"/>
                <a:gd name="T41" fmla="*/ 285 h 444"/>
                <a:gd name="T42" fmla="*/ 45 w 113"/>
                <a:gd name="T43" fmla="*/ 323 h 444"/>
                <a:gd name="T44" fmla="*/ 37 w 113"/>
                <a:gd name="T45" fmla="*/ 331 h 444"/>
                <a:gd name="T46" fmla="*/ 31 w 113"/>
                <a:gd name="T47" fmla="*/ 331 h 444"/>
                <a:gd name="T48" fmla="*/ 23 w 113"/>
                <a:gd name="T49" fmla="*/ 323 h 444"/>
                <a:gd name="T50" fmla="*/ 23 w 113"/>
                <a:gd name="T51" fmla="*/ 285 h 444"/>
                <a:gd name="T52" fmla="*/ 45 w 113"/>
                <a:gd name="T53" fmla="*/ 405 h 444"/>
                <a:gd name="T54" fmla="*/ 37 w 113"/>
                <a:gd name="T55" fmla="*/ 413 h 444"/>
                <a:gd name="T56" fmla="*/ 31 w 113"/>
                <a:gd name="T57" fmla="*/ 413 h 444"/>
                <a:gd name="T58" fmla="*/ 23 w 113"/>
                <a:gd name="T59" fmla="*/ 405 h 444"/>
                <a:gd name="T60" fmla="*/ 23 w 113"/>
                <a:gd name="T61" fmla="*/ 401 h 444"/>
                <a:gd name="T62" fmla="*/ 23 w 113"/>
                <a:gd name="T63" fmla="*/ 367 h 444"/>
                <a:gd name="T64" fmla="*/ 31 w 113"/>
                <a:gd name="T65" fmla="*/ 359 h 444"/>
                <a:gd name="T66" fmla="*/ 37 w 113"/>
                <a:gd name="T67" fmla="*/ 359 h 444"/>
                <a:gd name="T68" fmla="*/ 45 w 113"/>
                <a:gd name="T69" fmla="*/ 367 h 444"/>
                <a:gd name="T70" fmla="*/ 45 w 113"/>
                <a:gd name="T71" fmla="*/ 401 h 444"/>
                <a:gd name="T72" fmla="*/ 45 w 113"/>
                <a:gd name="T73" fmla="*/ 405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3" h="444">
                  <a:moveTo>
                    <a:pt x="41" y="0"/>
                  </a:moveTo>
                  <a:cubicBezTo>
                    <a:pt x="31" y="0"/>
                    <a:pt x="20" y="4"/>
                    <a:pt x="12" y="12"/>
                  </a:cubicBezTo>
                  <a:cubicBezTo>
                    <a:pt x="4" y="20"/>
                    <a:pt x="0" y="30"/>
                    <a:pt x="0" y="4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440"/>
                    <a:pt x="0" y="440"/>
                    <a:pt x="0" y="440"/>
                  </a:cubicBezTo>
                  <a:cubicBezTo>
                    <a:pt x="0" y="442"/>
                    <a:pt x="2" y="444"/>
                    <a:pt x="4" y="444"/>
                  </a:cubicBezTo>
                  <a:cubicBezTo>
                    <a:pt x="109" y="444"/>
                    <a:pt x="109" y="444"/>
                    <a:pt x="109" y="444"/>
                  </a:cubicBezTo>
                  <a:cubicBezTo>
                    <a:pt x="111" y="444"/>
                    <a:pt x="113" y="442"/>
                    <a:pt x="113" y="440"/>
                  </a:cubicBezTo>
                  <a:cubicBezTo>
                    <a:pt x="113" y="401"/>
                    <a:pt x="113" y="401"/>
                    <a:pt x="113" y="401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113" y="2"/>
                    <a:pt x="111" y="0"/>
                    <a:pt x="109" y="0"/>
                  </a:cubicBezTo>
                  <a:lnTo>
                    <a:pt x="41" y="0"/>
                  </a:lnTo>
                  <a:close/>
                  <a:moveTo>
                    <a:pt x="79" y="39"/>
                  </a:moveTo>
                  <a:cubicBezTo>
                    <a:pt x="91" y="39"/>
                    <a:pt x="91" y="39"/>
                    <a:pt x="91" y="39"/>
                  </a:cubicBezTo>
                  <a:cubicBezTo>
                    <a:pt x="91" y="211"/>
                    <a:pt x="91" y="211"/>
                    <a:pt x="91" y="211"/>
                  </a:cubicBezTo>
                  <a:cubicBezTo>
                    <a:pt x="79" y="211"/>
                    <a:pt x="79" y="211"/>
                    <a:pt x="79" y="211"/>
                  </a:cubicBezTo>
                  <a:lnTo>
                    <a:pt x="79" y="39"/>
                  </a:lnTo>
                  <a:close/>
                  <a:moveTo>
                    <a:pt x="23" y="285"/>
                  </a:moveTo>
                  <a:cubicBezTo>
                    <a:pt x="23" y="281"/>
                    <a:pt x="27" y="277"/>
                    <a:pt x="31" y="277"/>
                  </a:cubicBezTo>
                  <a:cubicBezTo>
                    <a:pt x="37" y="277"/>
                    <a:pt x="37" y="277"/>
                    <a:pt x="37" y="277"/>
                  </a:cubicBezTo>
                  <a:cubicBezTo>
                    <a:pt x="41" y="277"/>
                    <a:pt x="45" y="281"/>
                    <a:pt x="45" y="285"/>
                  </a:cubicBezTo>
                  <a:cubicBezTo>
                    <a:pt x="45" y="323"/>
                    <a:pt x="45" y="323"/>
                    <a:pt x="45" y="323"/>
                  </a:cubicBezTo>
                  <a:cubicBezTo>
                    <a:pt x="45" y="327"/>
                    <a:pt x="41" y="331"/>
                    <a:pt x="37" y="331"/>
                  </a:cubicBezTo>
                  <a:cubicBezTo>
                    <a:pt x="31" y="331"/>
                    <a:pt x="31" y="331"/>
                    <a:pt x="31" y="331"/>
                  </a:cubicBezTo>
                  <a:cubicBezTo>
                    <a:pt x="27" y="331"/>
                    <a:pt x="23" y="327"/>
                    <a:pt x="23" y="323"/>
                  </a:cubicBezTo>
                  <a:lnTo>
                    <a:pt x="23" y="285"/>
                  </a:lnTo>
                  <a:close/>
                  <a:moveTo>
                    <a:pt x="45" y="405"/>
                  </a:moveTo>
                  <a:cubicBezTo>
                    <a:pt x="45" y="409"/>
                    <a:pt x="41" y="413"/>
                    <a:pt x="37" y="413"/>
                  </a:cubicBezTo>
                  <a:cubicBezTo>
                    <a:pt x="31" y="413"/>
                    <a:pt x="31" y="413"/>
                    <a:pt x="31" y="413"/>
                  </a:cubicBezTo>
                  <a:cubicBezTo>
                    <a:pt x="27" y="413"/>
                    <a:pt x="23" y="409"/>
                    <a:pt x="23" y="405"/>
                  </a:cubicBezTo>
                  <a:cubicBezTo>
                    <a:pt x="23" y="401"/>
                    <a:pt x="23" y="401"/>
                    <a:pt x="23" y="401"/>
                  </a:cubicBezTo>
                  <a:cubicBezTo>
                    <a:pt x="23" y="367"/>
                    <a:pt x="23" y="367"/>
                    <a:pt x="23" y="367"/>
                  </a:cubicBezTo>
                  <a:cubicBezTo>
                    <a:pt x="23" y="363"/>
                    <a:pt x="27" y="359"/>
                    <a:pt x="31" y="359"/>
                  </a:cubicBezTo>
                  <a:cubicBezTo>
                    <a:pt x="37" y="359"/>
                    <a:pt x="37" y="359"/>
                    <a:pt x="37" y="359"/>
                  </a:cubicBezTo>
                  <a:cubicBezTo>
                    <a:pt x="41" y="359"/>
                    <a:pt x="45" y="363"/>
                    <a:pt x="45" y="367"/>
                  </a:cubicBezTo>
                  <a:cubicBezTo>
                    <a:pt x="45" y="401"/>
                    <a:pt x="45" y="401"/>
                    <a:pt x="45" y="401"/>
                  </a:cubicBezTo>
                  <a:lnTo>
                    <a:pt x="45" y="4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49" name="Freeform 16"/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428749" y="4829751"/>
            <a:ext cx="576000" cy="420920"/>
          </a:xfrm>
          <a:custGeom>
            <a:avLst/>
            <a:gdLst>
              <a:gd name="T0" fmla="*/ 1540 w 2080"/>
              <a:gd name="T1" fmla="*/ 0 h 1520"/>
              <a:gd name="T2" fmla="*/ 1921 w 2080"/>
              <a:gd name="T3" fmla="*/ 164 h 1520"/>
              <a:gd name="T4" fmla="*/ 2080 w 2080"/>
              <a:gd name="T5" fmla="*/ 560 h 1520"/>
              <a:gd name="T6" fmla="*/ 2034 w 2080"/>
              <a:gd name="T7" fmla="*/ 1192 h 1520"/>
              <a:gd name="T8" fmla="*/ 1800 w 2080"/>
              <a:gd name="T9" fmla="*/ 1520 h 1520"/>
              <a:gd name="T10" fmla="*/ 1487 w 2080"/>
              <a:gd name="T11" fmla="*/ 1264 h 1520"/>
              <a:gd name="T12" fmla="*/ 1360 w 2080"/>
              <a:gd name="T13" fmla="*/ 1120 h 1520"/>
              <a:gd name="T14" fmla="*/ 1259 w 2080"/>
              <a:gd name="T15" fmla="*/ 1149 h 1520"/>
              <a:gd name="T16" fmla="*/ 1040 w 2080"/>
              <a:gd name="T17" fmla="*/ 1200 h 1520"/>
              <a:gd name="T18" fmla="*/ 831 w 2080"/>
              <a:gd name="T19" fmla="*/ 1151 h 1520"/>
              <a:gd name="T20" fmla="*/ 720 w 2080"/>
              <a:gd name="T21" fmla="*/ 1120 h 1520"/>
              <a:gd name="T22" fmla="*/ 584 w 2080"/>
              <a:gd name="T23" fmla="*/ 1269 h 1520"/>
              <a:gd name="T24" fmla="*/ 280 w 2080"/>
              <a:gd name="T25" fmla="*/ 1520 h 1520"/>
              <a:gd name="T26" fmla="*/ 46 w 2080"/>
              <a:gd name="T27" fmla="*/ 1192 h 1520"/>
              <a:gd name="T28" fmla="*/ 0 w 2080"/>
              <a:gd name="T29" fmla="*/ 560 h 1520"/>
              <a:gd name="T30" fmla="*/ 159 w 2080"/>
              <a:gd name="T31" fmla="*/ 164 h 1520"/>
              <a:gd name="T32" fmla="*/ 540 w 2080"/>
              <a:gd name="T33" fmla="*/ 0 h 1520"/>
              <a:gd name="T34" fmla="*/ 842 w 2080"/>
              <a:gd name="T35" fmla="*/ 46 h 1520"/>
              <a:gd name="T36" fmla="*/ 1040 w 2080"/>
              <a:gd name="T37" fmla="*/ 80 h 1520"/>
              <a:gd name="T38" fmla="*/ 1238 w 2080"/>
              <a:gd name="T39" fmla="*/ 46 h 1520"/>
              <a:gd name="T40" fmla="*/ 1540 w 2080"/>
              <a:gd name="T41" fmla="*/ 0 h 1520"/>
              <a:gd name="T42" fmla="*/ 1560 w 2080"/>
              <a:gd name="T43" fmla="*/ 680 h 1520"/>
              <a:gd name="T44" fmla="*/ 1440 w 2080"/>
              <a:gd name="T45" fmla="*/ 800 h 1520"/>
              <a:gd name="T46" fmla="*/ 1560 w 2080"/>
              <a:gd name="T47" fmla="*/ 920 h 1520"/>
              <a:gd name="T48" fmla="*/ 1680 w 2080"/>
              <a:gd name="T49" fmla="*/ 800 h 1520"/>
              <a:gd name="T50" fmla="*/ 1560 w 2080"/>
              <a:gd name="T51" fmla="*/ 680 h 1520"/>
              <a:gd name="T52" fmla="*/ 1760 w 2080"/>
              <a:gd name="T53" fmla="*/ 440 h 1520"/>
              <a:gd name="T54" fmla="*/ 1640 w 2080"/>
              <a:gd name="T55" fmla="*/ 560 h 1520"/>
              <a:gd name="T56" fmla="*/ 1760 w 2080"/>
              <a:gd name="T57" fmla="*/ 680 h 1520"/>
              <a:gd name="T58" fmla="*/ 1880 w 2080"/>
              <a:gd name="T59" fmla="*/ 560 h 1520"/>
              <a:gd name="T60" fmla="*/ 1760 w 2080"/>
              <a:gd name="T61" fmla="*/ 440 h 1520"/>
              <a:gd name="T62" fmla="*/ 1360 w 2080"/>
              <a:gd name="T63" fmla="*/ 440 h 1520"/>
              <a:gd name="T64" fmla="*/ 1240 w 2080"/>
              <a:gd name="T65" fmla="*/ 560 h 1520"/>
              <a:gd name="T66" fmla="*/ 1360 w 2080"/>
              <a:gd name="T67" fmla="*/ 680 h 1520"/>
              <a:gd name="T68" fmla="*/ 1480 w 2080"/>
              <a:gd name="T69" fmla="*/ 560 h 1520"/>
              <a:gd name="T70" fmla="*/ 1360 w 2080"/>
              <a:gd name="T71" fmla="*/ 440 h 1520"/>
              <a:gd name="T72" fmla="*/ 1560 w 2080"/>
              <a:gd name="T73" fmla="*/ 200 h 1520"/>
              <a:gd name="T74" fmla="*/ 1440 w 2080"/>
              <a:gd name="T75" fmla="*/ 320 h 1520"/>
              <a:gd name="T76" fmla="*/ 1560 w 2080"/>
              <a:gd name="T77" fmla="*/ 440 h 1520"/>
              <a:gd name="T78" fmla="*/ 1642 w 2080"/>
              <a:gd name="T79" fmla="*/ 407 h 1520"/>
              <a:gd name="T80" fmla="*/ 1645 w 2080"/>
              <a:gd name="T81" fmla="*/ 405 h 1520"/>
              <a:gd name="T82" fmla="*/ 1680 w 2080"/>
              <a:gd name="T83" fmla="*/ 320 h 1520"/>
              <a:gd name="T84" fmla="*/ 1560 w 2080"/>
              <a:gd name="T85" fmla="*/ 200 h 1520"/>
              <a:gd name="T86" fmla="*/ 560 w 2080"/>
              <a:gd name="T87" fmla="*/ 240 h 1520"/>
              <a:gd name="T88" fmla="*/ 240 w 2080"/>
              <a:gd name="T89" fmla="*/ 560 h 1520"/>
              <a:gd name="T90" fmla="*/ 560 w 2080"/>
              <a:gd name="T91" fmla="*/ 880 h 1520"/>
              <a:gd name="T92" fmla="*/ 880 w 2080"/>
              <a:gd name="T93" fmla="*/ 560 h 1520"/>
              <a:gd name="T94" fmla="*/ 560 w 2080"/>
              <a:gd name="T95" fmla="*/ 240 h 1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080" h="1520">
                <a:moveTo>
                  <a:pt x="1540" y="0"/>
                </a:moveTo>
                <a:cubicBezTo>
                  <a:pt x="1692" y="0"/>
                  <a:pt x="1825" y="64"/>
                  <a:pt x="1921" y="164"/>
                </a:cubicBezTo>
                <a:cubicBezTo>
                  <a:pt x="2020" y="267"/>
                  <a:pt x="2080" y="409"/>
                  <a:pt x="2080" y="560"/>
                </a:cubicBezTo>
                <a:cubicBezTo>
                  <a:pt x="2080" y="780"/>
                  <a:pt x="2070" y="1013"/>
                  <a:pt x="2034" y="1192"/>
                </a:cubicBezTo>
                <a:cubicBezTo>
                  <a:pt x="1996" y="1386"/>
                  <a:pt x="1924" y="1520"/>
                  <a:pt x="1800" y="1520"/>
                </a:cubicBezTo>
                <a:cubicBezTo>
                  <a:pt x="1616" y="1520"/>
                  <a:pt x="1548" y="1384"/>
                  <a:pt x="1487" y="1264"/>
                </a:cubicBezTo>
                <a:cubicBezTo>
                  <a:pt x="1449" y="1188"/>
                  <a:pt x="1415" y="1120"/>
                  <a:pt x="1360" y="1120"/>
                </a:cubicBezTo>
                <a:cubicBezTo>
                  <a:pt x="1337" y="1120"/>
                  <a:pt x="1300" y="1134"/>
                  <a:pt x="1259" y="1149"/>
                </a:cubicBezTo>
                <a:cubicBezTo>
                  <a:pt x="1196" y="1172"/>
                  <a:pt x="1121" y="1200"/>
                  <a:pt x="1040" y="1200"/>
                </a:cubicBezTo>
                <a:cubicBezTo>
                  <a:pt x="970" y="1200"/>
                  <a:pt x="896" y="1174"/>
                  <a:pt x="831" y="1151"/>
                </a:cubicBezTo>
                <a:cubicBezTo>
                  <a:pt x="786" y="1134"/>
                  <a:pt x="745" y="1120"/>
                  <a:pt x="720" y="1120"/>
                </a:cubicBezTo>
                <a:cubicBezTo>
                  <a:pt x="657" y="1120"/>
                  <a:pt x="622" y="1191"/>
                  <a:pt x="584" y="1269"/>
                </a:cubicBezTo>
                <a:cubicBezTo>
                  <a:pt x="526" y="1388"/>
                  <a:pt x="462" y="1520"/>
                  <a:pt x="280" y="1520"/>
                </a:cubicBezTo>
                <a:cubicBezTo>
                  <a:pt x="156" y="1520"/>
                  <a:pt x="84" y="1386"/>
                  <a:pt x="46" y="1192"/>
                </a:cubicBezTo>
                <a:cubicBezTo>
                  <a:pt x="10" y="1013"/>
                  <a:pt x="0" y="780"/>
                  <a:pt x="0" y="560"/>
                </a:cubicBezTo>
                <a:cubicBezTo>
                  <a:pt x="0" y="409"/>
                  <a:pt x="60" y="267"/>
                  <a:pt x="159" y="164"/>
                </a:cubicBezTo>
                <a:cubicBezTo>
                  <a:pt x="255" y="64"/>
                  <a:pt x="388" y="0"/>
                  <a:pt x="540" y="0"/>
                </a:cubicBezTo>
                <a:cubicBezTo>
                  <a:pt x="699" y="0"/>
                  <a:pt x="773" y="24"/>
                  <a:pt x="842" y="46"/>
                </a:cubicBezTo>
                <a:cubicBezTo>
                  <a:pt x="896" y="64"/>
                  <a:pt x="946" y="80"/>
                  <a:pt x="1040" y="80"/>
                </a:cubicBezTo>
                <a:cubicBezTo>
                  <a:pt x="1134" y="80"/>
                  <a:pt x="1184" y="64"/>
                  <a:pt x="1238" y="46"/>
                </a:cubicBezTo>
                <a:cubicBezTo>
                  <a:pt x="1307" y="24"/>
                  <a:pt x="1381" y="0"/>
                  <a:pt x="1540" y="0"/>
                </a:cubicBezTo>
                <a:close/>
                <a:moveTo>
                  <a:pt x="1560" y="680"/>
                </a:moveTo>
                <a:cubicBezTo>
                  <a:pt x="1494" y="680"/>
                  <a:pt x="1440" y="734"/>
                  <a:pt x="1440" y="800"/>
                </a:cubicBezTo>
                <a:cubicBezTo>
                  <a:pt x="1440" y="866"/>
                  <a:pt x="1494" y="920"/>
                  <a:pt x="1560" y="920"/>
                </a:cubicBezTo>
                <a:cubicBezTo>
                  <a:pt x="1626" y="920"/>
                  <a:pt x="1680" y="866"/>
                  <a:pt x="1680" y="800"/>
                </a:cubicBezTo>
                <a:cubicBezTo>
                  <a:pt x="1680" y="734"/>
                  <a:pt x="1626" y="680"/>
                  <a:pt x="1560" y="680"/>
                </a:cubicBezTo>
                <a:close/>
                <a:moveTo>
                  <a:pt x="1760" y="440"/>
                </a:moveTo>
                <a:cubicBezTo>
                  <a:pt x="1694" y="440"/>
                  <a:pt x="1640" y="494"/>
                  <a:pt x="1640" y="560"/>
                </a:cubicBezTo>
                <a:cubicBezTo>
                  <a:pt x="1640" y="626"/>
                  <a:pt x="1694" y="680"/>
                  <a:pt x="1760" y="680"/>
                </a:cubicBezTo>
                <a:cubicBezTo>
                  <a:pt x="1826" y="680"/>
                  <a:pt x="1880" y="626"/>
                  <a:pt x="1880" y="560"/>
                </a:cubicBezTo>
                <a:cubicBezTo>
                  <a:pt x="1880" y="494"/>
                  <a:pt x="1826" y="440"/>
                  <a:pt x="1760" y="440"/>
                </a:cubicBezTo>
                <a:close/>
                <a:moveTo>
                  <a:pt x="1360" y="440"/>
                </a:moveTo>
                <a:cubicBezTo>
                  <a:pt x="1294" y="440"/>
                  <a:pt x="1240" y="494"/>
                  <a:pt x="1240" y="560"/>
                </a:cubicBezTo>
                <a:cubicBezTo>
                  <a:pt x="1240" y="626"/>
                  <a:pt x="1294" y="680"/>
                  <a:pt x="1360" y="680"/>
                </a:cubicBezTo>
                <a:cubicBezTo>
                  <a:pt x="1426" y="680"/>
                  <a:pt x="1480" y="626"/>
                  <a:pt x="1480" y="560"/>
                </a:cubicBezTo>
                <a:cubicBezTo>
                  <a:pt x="1480" y="494"/>
                  <a:pt x="1426" y="440"/>
                  <a:pt x="1360" y="440"/>
                </a:cubicBezTo>
                <a:close/>
                <a:moveTo>
                  <a:pt x="1560" y="200"/>
                </a:moveTo>
                <a:cubicBezTo>
                  <a:pt x="1494" y="200"/>
                  <a:pt x="1440" y="254"/>
                  <a:pt x="1440" y="320"/>
                </a:cubicBezTo>
                <a:cubicBezTo>
                  <a:pt x="1440" y="386"/>
                  <a:pt x="1494" y="440"/>
                  <a:pt x="1560" y="440"/>
                </a:cubicBezTo>
                <a:cubicBezTo>
                  <a:pt x="1592" y="440"/>
                  <a:pt x="1620" y="428"/>
                  <a:pt x="1642" y="407"/>
                </a:cubicBezTo>
                <a:cubicBezTo>
                  <a:pt x="1643" y="406"/>
                  <a:pt x="1644" y="406"/>
                  <a:pt x="1645" y="405"/>
                </a:cubicBezTo>
                <a:cubicBezTo>
                  <a:pt x="1666" y="383"/>
                  <a:pt x="1680" y="353"/>
                  <a:pt x="1680" y="320"/>
                </a:cubicBezTo>
                <a:cubicBezTo>
                  <a:pt x="1680" y="254"/>
                  <a:pt x="1626" y="200"/>
                  <a:pt x="1560" y="200"/>
                </a:cubicBezTo>
                <a:close/>
                <a:moveTo>
                  <a:pt x="560" y="240"/>
                </a:moveTo>
                <a:cubicBezTo>
                  <a:pt x="383" y="240"/>
                  <a:pt x="240" y="383"/>
                  <a:pt x="240" y="560"/>
                </a:cubicBezTo>
                <a:cubicBezTo>
                  <a:pt x="240" y="737"/>
                  <a:pt x="383" y="880"/>
                  <a:pt x="560" y="880"/>
                </a:cubicBezTo>
                <a:cubicBezTo>
                  <a:pt x="737" y="880"/>
                  <a:pt x="880" y="737"/>
                  <a:pt x="880" y="560"/>
                </a:cubicBezTo>
                <a:cubicBezTo>
                  <a:pt x="880" y="383"/>
                  <a:pt x="737" y="240"/>
                  <a:pt x="560" y="24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51" name="Rechteck 4"/>
          <p:cNvSpPr/>
          <p:nvPr>
            <p:custDataLst>
              <p:tags r:id="rId7"/>
            </p:custDataLst>
          </p:nvPr>
        </p:nvSpPr>
        <p:spPr bwMode="gray">
          <a:xfrm>
            <a:off x="7344570" y="1891837"/>
            <a:ext cx="2207815" cy="44174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algn="ctr"/>
            <a:r>
              <a:rPr lang="en-US" sz="2133" b="1" dirty="0">
                <a:solidFill>
                  <a:schemeClr val="tx1"/>
                </a:solidFill>
              </a:rPr>
              <a:t>YTD </a:t>
            </a:r>
            <a:r>
              <a:rPr lang="en-US" sz="2133" b="1" dirty="0" err="1">
                <a:solidFill>
                  <a:schemeClr val="tx1"/>
                </a:solidFill>
              </a:rPr>
              <a:t>okt</a:t>
            </a:r>
            <a:r>
              <a:rPr lang="en-US" sz="2133" b="1" dirty="0">
                <a:solidFill>
                  <a:schemeClr val="tx1"/>
                </a:solidFill>
              </a:rPr>
              <a:t>  2019 in € </a:t>
            </a:r>
            <a:r>
              <a:rPr lang="en-US" sz="2133" b="1" dirty="0" err="1">
                <a:solidFill>
                  <a:schemeClr val="tx1"/>
                </a:solidFill>
              </a:rPr>
              <a:t>mln</a:t>
            </a:r>
            <a:endParaRPr lang="en-US" sz="2133" b="1" dirty="0">
              <a:solidFill>
                <a:schemeClr val="tx1"/>
              </a:solidFill>
            </a:endParaRPr>
          </a:p>
        </p:txBody>
      </p:sp>
      <p:sp>
        <p:nvSpPr>
          <p:cNvPr id="52" name="Rechteck 4"/>
          <p:cNvSpPr/>
          <p:nvPr>
            <p:custDataLst>
              <p:tags r:id="rId8"/>
            </p:custDataLst>
          </p:nvPr>
        </p:nvSpPr>
        <p:spPr bwMode="gray">
          <a:xfrm>
            <a:off x="5136325" y="1887171"/>
            <a:ext cx="2207815" cy="44174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algn="ctr"/>
            <a:r>
              <a:rPr lang="en-US" sz="2133" b="1" dirty="0">
                <a:solidFill>
                  <a:schemeClr val="tx1"/>
                </a:solidFill>
              </a:rPr>
              <a:t>YTD </a:t>
            </a:r>
            <a:r>
              <a:rPr lang="en-US" sz="2133" b="1" dirty="0" err="1">
                <a:solidFill>
                  <a:schemeClr val="tx1"/>
                </a:solidFill>
              </a:rPr>
              <a:t>okt</a:t>
            </a:r>
            <a:r>
              <a:rPr lang="en-US" sz="2133" b="1" dirty="0">
                <a:solidFill>
                  <a:schemeClr val="tx1"/>
                </a:solidFill>
              </a:rPr>
              <a:t> 2018  in € </a:t>
            </a:r>
            <a:r>
              <a:rPr lang="en-US" sz="2133" b="1" dirty="0" err="1">
                <a:solidFill>
                  <a:schemeClr val="tx1"/>
                </a:solidFill>
              </a:rPr>
              <a:t>mln</a:t>
            </a:r>
            <a:endParaRPr lang="en-US" sz="2133" b="1" dirty="0">
              <a:solidFill>
                <a:schemeClr val="tx1"/>
              </a:solidFill>
            </a:endParaRPr>
          </a:p>
        </p:txBody>
      </p:sp>
      <p:sp>
        <p:nvSpPr>
          <p:cNvPr id="6" name="Freihandform 5"/>
          <p:cNvSpPr/>
          <p:nvPr>
            <p:custDataLst>
              <p:tags r:id="rId9"/>
            </p:custDataLst>
          </p:nvPr>
        </p:nvSpPr>
        <p:spPr bwMode="gray">
          <a:xfrm>
            <a:off x="416560" y="3717032"/>
            <a:ext cx="11328000" cy="0"/>
          </a:xfrm>
          <a:custGeom>
            <a:avLst/>
            <a:gdLst>
              <a:gd name="connsiteX0" fmla="*/ 0 w 8420100"/>
              <a:gd name="connsiteY0" fmla="*/ 0 h 0"/>
              <a:gd name="connsiteX1" fmla="*/ 8420100 w 8420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0100">
                <a:moveTo>
                  <a:pt x="0" y="0"/>
                </a:moveTo>
                <a:lnTo>
                  <a:pt x="8420100" y="0"/>
                </a:lnTo>
              </a:path>
            </a:pathLst>
          </a:cu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7" name="Freihandform 6"/>
          <p:cNvSpPr/>
          <p:nvPr>
            <p:custDataLst>
              <p:tags r:id="rId10"/>
            </p:custDataLst>
          </p:nvPr>
        </p:nvSpPr>
        <p:spPr bwMode="gray">
          <a:xfrm>
            <a:off x="416560" y="4581128"/>
            <a:ext cx="11328000" cy="0"/>
          </a:xfrm>
          <a:custGeom>
            <a:avLst/>
            <a:gdLst>
              <a:gd name="connsiteX0" fmla="*/ 0 w 8420100"/>
              <a:gd name="connsiteY0" fmla="*/ 0 h 0"/>
              <a:gd name="connsiteX1" fmla="*/ 8420100 w 8420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0100">
                <a:moveTo>
                  <a:pt x="0" y="0"/>
                </a:moveTo>
                <a:lnTo>
                  <a:pt x="8420100" y="0"/>
                </a:lnTo>
              </a:path>
            </a:pathLst>
          </a:cu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Freihandform 7"/>
          <p:cNvSpPr/>
          <p:nvPr>
            <p:custDataLst>
              <p:tags r:id="rId11"/>
            </p:custDataLst>
          </p:nvPr>
        </p:nvSpPr>
        <p:spPr bwMode="gray">
          <a:xfrm>
            <a:off x="416560" y="2852936"/>
            <a:ext cx="11328000" cy="0"/>
          </a:xfrm>
          <a:custGeom>
            <a:avLst/>
            <a:gdLst>
              <a:gd name="connsiteX0" fmla="*/ 0 w 8420100"/>
              <a:gd name="connsiteY0" fmla="*/ 0 h 0"/>
              <a:gd name="connsiteX1" fmla="*/ 8420100 w 8420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0100">
                <a:moveTo>
                  <a:pt x="0" y="0"/>
                </a:moveTo>
                <a:lnTo>
                  <a:pt x="8420100" y="0"/>
                </a:lnTo>
              </a:path>
            </a:pathLst>
          </a:cu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9" name="Freihandform 8"/>
          <p:cNvSpPr/>
          <p:nvPr>
            <p:custDataLst>
              <p:tags r:id="rId12"/>
            </p:custDataLst>
          </p:nvPr>
        </p:nvSpPr>
        <p:spPr bwMode="gray">
          <a:xfrm>
            <a:off x="416560" y="5445224"/>
            <a:ext cx="11328000" cy="0"/>
          </a:xfrm>
          <a:custGeom>
            <a:avLst/>
            <a:gdLst>
              <a:gd name="connsiteX0" fmla="*/ 0 w 8420100"/>
              <a:gd name="connsiteY0" fmla="*/ 0 h 0"/>
              <a:gd name="connsiteX1" fmla="*/ 8420100 w 8420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0100">
                <a:moveTo>
                  <a:pt x="0" y="0"/>
                </a:moveTo>
                <a:lnTo>
                  <a:pt x="8420100" y="0"/>
                </a:lnTo>
              </a:path>
            </a:pathLst>
          </a:cu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6" name="TextBox 15"/>
          <p:cNvSpPr txBox="1"/>
          <p:nvPr/>
        </p:nvSpPr>
        <p:spPr>
          <a:xfrm>
            <a:off x="1199456" y="3053032"/>
            <a:ext cx="2400267" cy="4800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400"/>
              </a:spcBef>
            </a:pPr>
            <a:r>
              <a:rPr lang="nl-NL" sz="2400" dirty="0">
                <a:latin typeface="Arial" pitchFamily="34" charset="0"/>
                <a:cs typeface="Arial" pitchFamily="34" charset="0"/>
              </a:rPr>
              <a:t>Boeken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199456" y="3909054"/>
            <a:ext cx="2592288" cy="4800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400"/>
              </a:spcBef>
            </a:pPr>
            <a:r>
              <a:rPr lang="nl-NL" sz="2400" dirty="0">
                <a:latin typeface="Arial" pitchFamily="34" charset="0"/>
                <a:cs typeface="Arial" pitchFamily="34" charset="0"/>
              </a:rPr>
              <a:t>Gaming hardware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199456" y="4773150"/>
            <a:ext cx="2400267" cy="4800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400"/>
              </a:spcBef>
            </a:pPr>
            <a:r>
              <a:rPr lang="nl-NL" sz="2400" dirty="0">
                <a:latin typeface="Arial" pitchFamily="34" charset="0"/>
                <a:cs typeface="Arial" pitchFamily="34" charset="0"/>
              </a:rPr>
              <a:t>Gaming software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1199456" y="5637246"/>
            <a:ext cx="2784309" cy="4800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400"/>
              </a:spcBef>
            </a:pPr>
            <a:r>
              <a:rPr lang="nl-NL" sz="2400" dirty="0">
                <a:latin typeface="Arial" pitchFamily="34" charset="0"/>
                <a:cs typeface="Arial" pitchFamily="34" charset="0"/>
              </a:rPr>
              <a:t>DVD/Blu-ray movie</a:t>
            </a:r>
          </a:p>
        </p:txBody>
      </p:sp>
      <p:sp>
        <p:nvSpPr>
          <p:cNvPr id="56" name="Rechteck 10"/>
          <p:cNvSpPr/>
          <p:nvPr>
            <p:custDataLst>
              <p:tags r:id="rId13"/>
            </p:custDataLst>
          </p:nvPr>
        </p:nvSpPr>
        <p:spPr bwMode="gray">
          <a:xfrm>
            <a:off x="5039883" y="2852936"/>
            <a:ext cx="25462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6000" bIns="96000" rtlCol="0" anchor="ctr"/>
          <a:lstStyle/>
          <a:p>
            <a:pPr algn="ctr"/>
            <a:r>
              <a:rPr lang="en-US" sz="3200" b="1" dirty="0">
                <a:solidFill>
                  <a:schemeClr val="accent3"/>
                </a:solidFill>
              </a:rPr>
              <a:t>401 </a:t>
            </a:r>
          </a:p>
        </p:txBody>
      </p:sp>
      <p:sp>
        <p:nvSpPr>
          <p:cNvPr id="57" name="Rechteck 10"/>
          <p:cNvSpPr/>
          <p:nvPr>
            <p:custDataLst>
              <p:tags r:id="rId14"/>
            </p:custDataLst>
          </p:nvPr>
        </p:nvSpPr>
        <p:spPr bwMode="gray">
          <a:xfrm>
            <a:off x="7198205" y="2852936"/>
            <a:ext cx="25462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6000" bIns="96000" rtlCol="0" anchor="ctr"/>
          <a:lstStyle/>
          <a:p>
            <a:pPr algn="ctr"/>
            <a:r>
              <a:rPr lang="en-US" sz="3200" b="1" dirty="0">
                <a:solidFill>
                  <a:schemeClr val="accent3"/>
                </a:solidFill>
              </a:rPr>
              <a:t>409</a:t>
            </a:r>
            <a:r>
              <a:rPr lang="en-US" sz="3733" b="1" dirty="0">
                <a:solidFill>
                  <a:schemeClr val="accent3"/>
                </a:solidFill>
              </a:rPr>
              <a:t> </a:t>
            </a:r>
          </a:p>
        </p:txBody>
      </p:sp>
      <p:sp>
        <p:nvSpPr>
          <p:cNvPr id="58" name="Rechteck 10"/>
          <p:cNvSpPr/>
          <p:nvPr>
            <p:custDataLst>
              <p:tags r:id="rId15"/>
            </p:custDataLst>
          </p:nvPr>
        </p:nvSpPr>
        <p:spPr bwMode="gray">
          <a:xfrm>
            <a:off x="5039883" y="3717128"/>
            <a:ext cx="25462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6000" bIns="96000" rtlCol="0" anchor="ctr"/>
          <a:lstStyle/>
          <a:p>
            <a:pPr algn="ctr"/>
            <a:r>
              <a:rPr lang="en-US" sz="3200" b="1" dirty="0">
                <a:solidFill>
                  <a:schemeClr val="accent3"/>
                </a:solidFill>
              </a:rPr>
              <a:t>95</a:t>
            </a:r>
            <a:r>
              <a:rPr lang="en-US" sz="3733" b="1" dirty="0">
                <a:solidFill>
                  <a:schemeClr val="accent3"/>
                </a:solidFill>
              </a:rPr>
              <a:t> </a:t>
            </a:r>
          </a:p>
        </p:txBody>
      </p:sp>
      <p:sp>
        <p:nvSpPr>
          <p:cNvPr id="59" name="Rechteck 10"/>
          <p:cNvSpPr/>
          <p:nvPr>
            <p:custDataLst>
              <p:tags r:id="rId16"/>
            </p:custDataLst>
          </p:nvPr>
        </p:nvSpPr>
        <p:spPr bwMode="gray">
          <a:xfrm>
            <a:off x="7198205" y="3717128"/>
            <a:ext cx="25462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6000" bIns="96000" rtlCol="0" anchor="ctr"/>
          <a:lstStyle/>
          <a:p>
            <a:pPr algn="ctr"/>
            <a:r>
              <a:rPr lang="en-US" sz="3200" b="1" dirty="0">
                <a:solidFill>
                  <a:schemeClr val="accent3"/>
                </a:solidFill>
              </a:rPr>
              <a:t>73</a:t>
            </a:r>
            <a:r>
              <a:rPr lang="en-US" sz="3733" b="1" dirty="0">
                <a:solidFill>
                  <a:schemeClr val="accent3"/>
                </a:solidFill>
              </a:rPr>
              <a:t> </a:t>
            </a:r>
          </a:p>
        </p:txBody>
      </p:sp>
      <p:sp>
        <p:nvSpPr>
          <p:cNvPr id="60" name="Rechteck 10"/>
          <p:cNvSpPr/>
          <p:nvPr>
            <p:custDataLst>
              <p:tags r:id="rId17"/>
            </p:custDataLst>
          </p:nvPr>
        </p:nvSpPr>
        <p:spPr bwMode="gray">
          <a:xfrm>
            <a:off x="5039883" y="4581224"/>
            <a:ext cx="25462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6000" bIns="96000" rtlCol="0" anchor="ctr"/>
          <a:lstStyle/>
          <a:p>
            <a:pPr algn="ctr"/>
            <a:r>
              <a:rPr lang="en-US" sz="3200" b="1" dirty="0">
                <a:solidFill>
                  <a:schemeClr val="accent3"/>
                </a:solidFill>
              </a:rPr>
              <a:t>101</a:t>
            </a:r>
            <a:r>
              <a:rPr lang="en-US" sz="3733" b="1" dirty="0">
                <a:solidFill>
                  <a:schemeClr val="accent3"/>
                </a:solidFill>
              </a:rPr>
              <a:t> </a:t>
            </a:r>
          </a:p>
        </p:txBody>
      </p:sp>
      <p:sp>
        <p:nvSpPr>
          <p:cNvPr id="61" name="Rechteck 10"/>
          <p:cNvSpPr/>
          <p:nvPr>
            <p:custDataLst>
              <p:tags r:id="rId18"/>
            </p:custDataLst>
          </p:nvPr>
        </p:nvSpPr>
        <p:spPr bwMode="gray">
          <a:xfrm>
            <a:off x="7198205" y="4581224"/>
            <a:ext cx="25462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6000" bIns="96000" rtlCol="0" anchor="ctr"/>
          <a:lstStyle/>
          <a:p>
            <a:pPr algn="ctr"/>
            <a:r>
              <a:rPr lang="en-US" sz="3200" b="1" dirty="0">
                <a:solidFill>
                  <a:schemeClr val="accent3"/>
                </a:solidFill>
              </a:rPr>
              <a:t>83</a:t>
            </a:r>
            <a:r>
              <a:rPr lang="en-US" sz="3733" b="1" dirty="0">
                <a:solidFill>
                  <a:schemeClr val="accent3"/>
                </a:solidFill>
              </a:rPr>
              <a:t> </a:t>
            </a:r>
          </a:p>
        </p:txBody>
      </p:sp>
      <p:sp>
        <p:nvSpPr>
          <p:cNvPr id="62" name="Rechteck 11"/>
          <p:cNvSpPr/>
          <p:nvPr>
            <p:custDataLst>
              <p:tags r:id="rId19"/>
            </p:custDataLst>
          </p:nvPr>
        </p:nvSpPr>
        <p:spPr bwMode="gray">
          <a:xfrm>
            <a:off x="9214429" y="4581224"/>
            <a:ext cx="25462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6000" bIns="96000" rtlCol="0" anchor="ctr"/>
          <a:lstStyle/>
          <a:p>
            <a:pPr algn="ctr"/>
            <a:r>
              <a:rPr lang="en-US" sz="3200" b="1" dirty="0">
                <a:solidFill>
                  <a:schemeClr val="accent3"/>
                </a:solidFill>
              </a:rPr>
              <a:t>- 18%</a:t>
            </a:r>
          </a:p>
        </p:txBody>
      </p:sp>
      <p:sp>
        <p:nvSpPr>
          <p:cNvPr id="37" name="Rechteck 10"/>
          <p:cNvSpPr/>
          <p:nvPr>
            <p:custDataLst>
              <p:tags r:id="rId20"/>
            </p:custDataLst>
          </p:nvPr>
        </p:nvSpPr>
        <p:spPr bwMode="gray">
          <a:xfrm>
            <a:off x="5039883" y="5445320"/>
            <a:ext cx="25462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6000" bIns="96000" rtlCol="0" anchor="ctr"/>
          <a:lstStyle/>
          <a:p>
            <a:pPr algn="ctr"/>
            <a:r>
              <a:rPr lang="en-US" sz="3200" b="1" dirty="0">
                <a:solidFill>
                  <a:schemeClr val="accent3"/>
                </a:solidFill>
              </a:rPr>
              <a:t>41</a:t>
            </a:r>
            <a:r>
              <a:rPr lang="en-US" sz="3733" b="1" dirty="0">
                <a:solidFill>
                  <a:schemeClr val="accent3"/>
                </a:solidFill>
              </a:rPr>
              <a:t> </a:t>
            </a:r>
          </a:p>
        </p:txBody>
      </p:sp>
      <p:sp>
        <p:nvSpPr>
          <p:cNvPr id="38" name="Rechteck 10"/>
          <p:cNvSpPr/>
          <p:nvPr>
            <p:custDataLst>
              <p:tags r:id="rId21"/>
            </p:custDataLst>
          </p:nvPr>
        </p:nvSpPr>
        <p:spPr bwMode="gray">
          <a:xfrm>
            <a:off x="7198205" y="5445320"/>
            <a:ext cx="25462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6000" bIns="96000" rtlCol="0" anchor="ctr"/>
          <a:lstStyle/>
          <a:p>
            <a:pPr algn="ctr"/>
            <a:r>
              <a:rPr lang="en-US" sz="3200" b="1" dirty="0">
                <a:solidFill>
                  <a:schemeClr val="accent3"/>
                </a:solidFill>
              </a:rPr>
              <a:t>33</a:t>
            </a:r>
            <a:r>
              <a:rPr lang="en-US" sz="3733" b="1" dirty="0">
                <a:solidFill>
                  <a:schemeClr val="accent3"/>
                </a:solidFill>
              </a:rPr>
              <a:t> </a:t>
            </a:r>
          </a:p>
        </p:txBody>
      </p:sp>
      <p:sp>
        <p:nvSpPr>
          <p:cNvPr id="39" name="Rechteck 11"/>
          <p:cNvSpPr/>
          <p:nvPr>
            <p:custDataLst>
              <p:tags r:id="rId22"/>
            </p:custDataLst>
          </p:nvPr>
        </p:nvSpPr>
        <p:spPr bwMode="gray">
          <a:xfrm>
            <a:off x="9214429" y="5445320"/>
            <a:ext cx="2546200" cy="86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6000" bIns="96000" rtlCol="0" anchor="ctr"/>
          <a:lstStyle/>
          <a:p>
            <a:pPr algn="ctr"/>
            <a:r>
              <a:rPr lang="en-US" sz="3200" b="1" dirty="0">
                <a:solidFill>
                  <a:schemeClr val="accent3"/>
                </a:solidFill>
              </a:rPr>
              <a:t>- 20%</a:t>
            </a:r>
          </a:p>
        </p:txBody>
      </p:sp>
      <p:sp>
        <p:nvSpPr>
          <p:cNvPr id="40" name="Freihandform 8"/>
          <p:cNvSpPr/>
          <p:nvPr>
            <p:custDataLst>
              <p:tags r:id="rId23"/>
            </p:custDataLst>
          </p:nvPr>
        </p:nvSpPr>
        <p:spPr bwMode="gray">
          <a:xfrm>
            <a:off x="431371" y="6309320"/>
            <a:ext cx="11328000" cy="0"/>
          </a:xfrm>
          <a:custGeom>
            <a:avLst/>
            <a:gdLst>
              <a:gd name="connsiteX0" fmla="*/ 0 w 8420100"/>
              <a:gd name="connsiteY0" fmla="*/ 0 h 0"/>
              <a:gd name="connsiteX1" fmla="*/ 8420100 w 84201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0100">
                <a:moveTo>
                  <a:pt x="0" y="0"/>
                </a:moveTo>
                <a:lnTo>
                  <a:pt x="8420100" y="0"/>
                </a:lnTo>
              </a:path>
            </a:pathLst>
          </a:cu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9014715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 Placeholder 1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7632171" y="1892829"/>
            <a:ext cx="2687869" cy="44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lIns="120000" tIns="96000" rIns="120000" bIns="96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 defTabSz="1219170"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1867" b="1" dirty="0">
                <a:solidFill>
                  <a:schemeClr val="accent3"/>
                </a:solidFill>
              </a:rPr>
              <a:t>YTD </a:t>
            </a:r>
            <a:r>
              <a:rPr lang="en-US" sz="1867" b="1" dirty="0" err="1">
                <a:solidFill>
                  <a:schemeClr val="accent3"/>
                </a:solidFill>
              </a:rPr>
              <a:t>okt</a:t>
            </a:r>
            <a:r>
              <a:rPr lang="en-US" sz="1867" b="1" dirty="0">
                <a:solidFill>
                  <a:schemeClr val="accent3"/>
                </a:solidFill>
              </a:rPr>
              <a:t> 2019</a:t>
            </a:r>
          </a:p>
        </p:txBody>
      </p:sp>
      <p:sp>
        <p:nvSpPr>
          <p:cNvPr id="43" name="Text Placeholder 1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4751771" y="1892829"/>
            <a:ext cx="2687869" cy="44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lIns="120000" tIns="96000" rIns="120000" bIns="96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 defTabSz="1219170"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1867" b="1" dirty="0">
                <a:solidFill>
                  <a:schemeClr val="accent2"/>
                </a:solidFill>
              </a:rPr>
              <a:t>YTD </a:t>
            </a:r>
            <a:r>
              <a:rPr lang="en-US" sz="1867" b="1" dirty="0" err="1">
                <a:solidFill>
                  <a:schemeClr val="accent2"/>
                </a:solidFill>
              </a:rPr>
              <a:t>okt</a:t>
            </a:r>
            <a:r>
              <a:rPr lang="en-US" sz="1867" b="1" dirty="0">
                <a:solidFill>
                  <a:schemeClr val="accent2"/>
                </a:solidFill>
              </a:rPr>
              <a:t> 2018</a:t>
            </a:r>
            <a:endParaRPr lang="en-US" b="1" dirty="0">
              <a:solidFill>
                <a:schemeClr val="accent2"/>
              </a:solidFill>
            </a:endParaRPr>
          </a:p>
        </p:txBody>
      </p:sp>
      <p:sp>
        <p:nvSpPr>
          <p:cNvPr id="44" name="Text Placeholder 1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871371" y="1892829"/>
            <a:ext cx="2687869" cy="441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txBody>
          <a:bodyPr vert="horz" lIns="120000" tIns="96000" rIns="120000" bIns="96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 defTabSz="1219170">
              <a:spcBef>
                <a:spcPts val="400"/>
              </a:spcBef>
              <a:spcAft>
                <a:spcPts val="400"/>
              </a:spcAft>
              <a:defRPr/>
            </a:pPr>
            <a:r>
              <a:rPr lang="en-US" sz="1867" b="1" dirty="0">
                <a:solidFill>
                  <a:schemeClr val="accent1"/>
                </a:solidFill>
              </a:rPr>
              <a:t>YTD </a:t>
            </a:r>
            <a:r>
              <a:rPr lang="en-US" sz="1867" b="1" dirty="0" err="1">
                <a:solidFill>
                  <a:schemeClr val="accent1"/>
                </a:solidFill>
              </a:rPr>
              <a:t>okt</a:t>
            </a:r>
            <a:r>
              <a:rPr lang="en-US" sz="1867" b="1" dirty="0">
                <a:solidFill>
                  <a:schemeClr val="accent1"/>
                </a:solidFill>
              </a:rPr>
              <a:t> 2017</a:t>
            </a:r>
            <a:endParaRPr lang="en-US" b="1" dirty="0">
              <a:solidFill>
                <a:schemeClr val="accent1"/>
              </a:solidFill>
            </a:endParaRPr>
          </a:p>
        </p:txBody>
      </p:sp>
      <p:graphicFrame>
        <p:nvGraphicFramePr>
          <p:cNvPr id="49" name="Dia Asia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8588087"/>
              </p:ext>
            </p:extLst>
          </p:nvPr>
        </p:nvGraphicFramePr>
        <p:xfrm>
          <a:off x="1967381" y="3236979"/>
          <a:ext cx="2496000" cy="182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50" name="Dia Asia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61222399"/>
              </p:ext>
            </p:extLst>
          </p:nvPr>
        </p:nvGraphicFramePr>
        <p:xfrm>
          <a:off x="4847781" y="3236979"/>
          <a:ext cx="2496000" cy="182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51" name="Dia Asia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38269723"/>
              </p:ext>
            </p:extLst>
          </p:nvPr>
        </p:nvGraphicFramePr>
        <p:xfrm>
          <a:off x="7728181" y="3236979"/>
          <a:ext cx="2496000" cy="182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53" name="Rechteck 52"/>
          <p:cNvSpPr/>
          <p:nvPr>
            <p:custDataLst>
              <p:tags r:id="rId7"/>
            </p:custDataLst>
          </p:nvPr>
        </p:nvSpPr>
        <p:spPr bwMode="gray">
          <a:xfrm>
            <a:off x="2516002" y="3429000"/>
            <a:ext cx="1344149" cy="1344000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 defTabSz="1219170">
              <a:defRPr/>
            </a:pPr>
            <a:r>
              <a:rPr lang="en-US" sz="3733" b="1" dirty="0">
                <a:solidFill>
                  <a:schemeClr val="accent1"/>
                </a:solidFill>
                <a:latin typeface="Arial"/>
              </a:rPr>
              <a:t>26,9</a:t>
            </a:r>
            <a:r>
              <a:rPr lang="en-US" sz="2133" b="1" dirty="0">
                <a:solidFill>
                  <a:schemeClr val="accent1"/>
                </a:solidFill>
                <a:latin typeface="Arial"/>
              </a:rPr>
              <a:t>%</a:t>
            </a:r>
          </a:p>
        </p:txBody>
      </p:sp>
      <p:sp>
        <p:nvSpPr>
          <p:cNvPr id="54" name="Rechteck 53"/>
          <p:cNvSpPr/>
          <p:nvPr>
            <p:custDataLst>
              <p:tags r:id="rId8"/>
            </p:custDataLst>
          </p:nvPr>
        </p:nvSpPr>
        <p:spPr bwMode="gray">
          <a:xfrm>
            <a:off x="5396321" y="3429000"/>
            <a:ext cx="1344000" cy="1344000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 defTabSz="1219170">
              <a:defRPr/>
            </a:pPr>
            <a:r>
              <a:rPr lang="en-US" sz="3733" b="1" dirty="0">
                <a:solidFill>
                  <a:schemeClr val="accent2"/>
                </a:solidFill>
                <a:latin typeface="Arial"/>
              </a:rPr>
              <a:t>33,0</a:t>
            </a:r>
            <a:r>
              <a:rPr lang="en-US" sz="2133" b="1" dirty="0">
                <a:solidFill>
                  <a:schemeClr val="accent2"/>
                </a:solidFill>
                <a:latin typeface="Arial"/>
              </a:rPr>
              <a:t>%</a:t>
            </a:r>
          </a:p>
        </p:txBody>
      </p:sp>
      <p:sp>
        <p:nvSpPr>
          <p:cNvPr id="55" name="Rechteck 54"/>
          <p:cNvSpPr/>
          <p:nvPr>
            <p:custDataLst>
              <p:tags r:id="rId9"/>
            </p:custDataLst>
          </p:nvPr>
        </p:nvSpPr>
        <p:spPr bwMode="gray">
          <a:xfrm>
            <a:off x="8304245" y="3429000"/>
            <a:ext cx="1344000" cy="1344000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 defTabSz="1219170">
              <a:defRPr/>
            </a:pPr>
            <a:r>
              <a:rPr lang="en-US" sz="3733" b="1" dirty="0">
                <a:solidFill>
                  <a:schemeClr val="accent3"/>
                </a:solidFill>
                <a:latin typeface="Arial"/>
              </a:rPr>
              <a:t>39,9</a:t>
            </a:r>
            <a:r>
              <a:rPr lang="en-US" sz="2133" b="1" dirty="0">
                <a:solidFill>
                  <a:schemeClr val="accent3"/>
                </a:solidFill>
                <a:latin typeface="Arial"/>
              </a:rPr>
              <a:t>%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24EE0D8-F6C0-407F-ACB9-799EC07AE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5061" y="288922"/>
            <a:ext cx="8125500" cy="648000"/>
          </a:xfrm>
        </p:spPr>
        <p:txBody>
          <a:bodyPr/>
          <a:lstStyle/>
          <a:p>
            <a:r>
              <a:rPr lang="en-US" dirty="0" err="1"/>
              <a:t>Omzetaandeel</a:t>
            </a:r>
            <a:r>
              <a:rPr lang="en-US" dirty="0"/>
              <a:t> vinyl in </a:t>
            </a:r>
            <a:r>
              <a:rPr lang="en-US" dirty="0" err="1"/>
              <a:t>totaal</a:t>
            </a:r>
            <a:r>
              <a:rPr lang="en-US" dirty="0"/>
              <a:t> CD &amp; vinyl</a:t>
            </a:r>
            <a:endParaRPr lang="en-NL" dirty="0"/>
          </a:p>
        </p:txBody>
      </p:sp>
    </p:spTree>
    <p:extLst>
      <p:ext uri="{BB962C8B-B14F-4D97-AF65-F5344CB8AC3E}">
        <p14:creationId xmlns:p14="http://schemas.microsoft.com/office/powerpoint/2010/main" val="38686316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2832624574"/>
              </p:ext>
            </p:extLst>
          </p:nvPr>
        </p:nvGraphicFramePr>
        <p:xfrm>
          <a:off x="3442602" y="1513608"/>
          <a:ext cx="4947639" cy="49316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1205">
                  <a:extLst>
                    <a:ext uri="{9D8B030D-6E8A-4147-A177-3AD203B41FA5}">
                      <a16:colId xmlns:a16="http://schemas.microsoft.com/office/drawing/2014/main" val="3463582835"/>
                    </a:ext>
                  </a:extLst>
                </a:gridCol>
                <a:gridCol w="3846434">
                  <a:extLst>
                    <a:ext uri="{9D8B030D-6E8A-4147-A177-3AD203B41FA5}">
                      <a16:colId xmlns:a16="http://schemas.microsoft.com/office/drawing/2014/main" val="1546941107"/>
                    </a:ext>
                  </a:extLst>
                </a:gridCol>
              </a:tblGrid>
              <a:tr h="359686">
                <a:tc>
                  <a:txBody>
                    <a:bodyPr/>
                    <a:lstStyle/>
                    <a:p>
                      <a:r>
                        <a:rPr lang="nl-NL" sz="1200" dirty="0"/>
                        <a:t>Ranking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200" dirty="0"/>
                        <a:t>Artist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352595174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200" dirty="0"/>
                        <a:t>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200" dirty="0"/>
                        <a:t>Queen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029250267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200" dirty="0"/>
                        <a:t>2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dirty="0"/>
                        <a:t>The Beatle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750769158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200" dirty="0"/>
                        <a:t>3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dirty="0"/>
                        <a:t>Pink Floyd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873637223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200" dirty="0"/>
                        <a:t>4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200" dirty="0"/>
                        <a:t>Bruce Springsteen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881430292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200" dirty="0"/>
                        <a:t>5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200" dirty="0"/>
                        <a:t>Rolling Stone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66901255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200" dirty="0"/>
                        <a:t>6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200" dirty="0"/>
                        <a:t>David Bowie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426713403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200" dirty="0"/>
                        <a:t>7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200" dirty="0"/>
                        <a:t>Billie Eilish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4230258530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200" dirty="0"/>
                        <a:t>8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200" dirty="0"/>
                        <a:t>Prince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915105323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200" dirty="0"/>
                        <a:t>9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200" dirty="0"/>
                        <a:t>Fleetwood Mac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697559963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200" dirty="0"/>
                        <a:t>10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200" dirty="0"/>
                        <a:t>Ed Sheeran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344423390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200" dirty="0"/>
                        <a:t>1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200" dirty="0"/>
                        <a:t>Led Zeppelin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1617419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200" dirty="0"/>
                        <a:t>12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200" dirty="0"/>
                        <a:t>U2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865523610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200" dirty="0"/>
                        <a:t>13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200" dirty="0"/>
                        <a:t>Rammstein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143878582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200" dirty="0"/>
                        <a:t>14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200" dirty="0"/>
                        <a:t>Nirvana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100132276"/>
                  </a:ext>
                </a:extLst>
              </a:tr>
              <a:tr h="287099">
                <a:tc>
                  <a:txBody>
                    <a:bodyPr/>
                    <a:lstStyle/>
                    <a:p>
                      <a:r>
                        <a:rPr lang="nl-NL" sz="1200" dirty="0"/>
                        <a:t>15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l-NL" sz="1200" dirty="0"/>
                        <a:t>Amy Winehouse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606238418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Top 15 bands/artists goed voor </a:t>
            </a:r>
            <a:r>
              <a:rPr lang="nl-NL" u="sng" dirty="0"/>
              <a:t>19%</a:t>
            </a:r>
            <a:r>
              <a:rPr lang="nl-NL" dirty="0"/>
              <a:t> van totale vinyl omze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A82ED7D-A618-413A-95EB-DC1DC5A5EEC4}"/>
              </a:ext>
            </a:extLst>
          </p:cNvPr>
          <p:cNvSpPr txBox="1"/>
          <p:nvPr/>
        </p:nvSpPr>
        <p:spPr>
          <a:xfrm>
            <a:off x="143339" y="6597352"/>
            <a:ext cx="2400267" cy="1920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400"/>
              </a:spcBef>
            </a:pPr>
            <a:r>
              <a:rPr lang="nl-NL" sz="800" dirty="0">
                <a:latin typeface="Arial" pitchFamily="34" charset="0"/>
                <a:cs typeface="Arial" pitchFamily="34" charset="0"/>
              </a:rPr>
              <a:t>* obv omzet YTD okt. 2019</a:t>
            </a:r>
          </a:p>
        </p:txBody>
      </p:sp>
    </p:spTree>
    <p:extLst>
      <p:ext uri="{BB962C8B-B14F-4D97-AF65-F5344CB8AC3E}">
        <p14:creationId xmlns:p14="http://schemas.microsoft.com/office/powerpoint/2010/main" val="23095716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7744C-912C-4B35-8323-2A0FD49B8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1BDBE1E8-50F2-49BA-A952-1CC1DEAA5FBD}" type="slidenum">
              <a:rPr lang="en-US" smtClean="0"/>
              <a:pPr algn="r"/>
              <a:t>8</a:t>
            </a:fld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9069827-4E58-4E2C-AA87-F5ED2446601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61489883"/>
              </p:ext>
            </p:extLst>
          </p:nvPr>
        </p:nvGraphicFramePr>
        <p:xfrm>
          <a:off x="350363" y="2365962"/>
          <a:ext cx="11491274" cy="37801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itel 3">
            <a:extLst>
              <a:ext uri="{FF2B5EF4-FFF2-40B4-BE49-F238E27FC236}">
                <a16:creationId xmlns:a16="http://schemas.microsoft.com/office/drawing/2014/main" id="{038F7171-95CD-4FE3-828F-BD3534CE88E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075061" y="288922"/>
            <a:ext cx="7910158" cy="648000"/>
          </a:xfrm>
        </p:spPr>
        <p:txBody>
          <a:bodyPr/>
          <a:lstStyle/>
          <a:p>
            <a:r>
              <a:rPr lang="en-US" dirty="0" err="1">
                <a:latin typeface="+mj-lt"/>
              </a:rPr>
              <a:t>Weekomzet</a:t>
            </a:r>
            <a:r>
              <a:rPr lang="en-US" dirty="0">
                <a:latin typeface="+mj-lt"/>
              </a:rPr>
              <a:t> CD &amp; LP per week 2019 vs market shares Indies</a:t>
            </a:r>
          </a:p>
        </p:txBody>
      </p:sp>
      <p:sp>
        <p:nvSpPr>
          <p:cNvPr id="6" name="Titel 3">
            <a:extLst>
              <a:ext uri="{FF2B5EF4-FFF2-40B4-BE49-F238E27FC236}">
                <a16:creationId xmlns:a16="http://schemas.microsoft.com/office/drawing/2014/main" id="{626552E9-116E-43AC-814E-D9F978B27C38}"/>
              </a:ext>
            </a:extLst>
          </p:cNvPr>
          <p:cNvSpPr txBox="1">
            <a:spLocks/>
          </p:cNvSpPr>
          <p:nvPr/>
        </p:nvSpPr>
        <p:spPr bwMode="gray">
          <a:xfrm>
            <a:off x="1075061" y="1327442"/>
            <a:ext cx="8530852" cy="64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endParaRPr lang="en-US" sz="2000" dirty="0">
              <a:latin typeface="+mj-lt"/>
            </a:endParaRPr>
          </a:p>
          <a:p>
            <a:r>
              <a:rPr lang="en-US" sz="2000" dirty="0">
                <a:latin typeface="+mj-lt"/>
              </a:rPr>
              <a:t>26% van de </a:t>
            </a:r>
            <a:r>
              <a:rPr lang="en-US" sz="2000" dirty="0" err="1">
                <a:latin typeface="+mj-lt"/>
              </a:rPr>
              <a:t>totale</a:t>
            </a:r>
            <a:r>
              <a:rPr lang="en-US" sz="2000" dirty="0">
                <a:latin typeface="+mj-lt"/>
              </a:rPr>
              <a:t> </a:t>
            </a:r>
            <a:r>
              <a:rPr lang="en-US" sz="2000" dirty="0" err="1">
                <a:latin typeface="+mj-lt"/>
              </a:rPr>
              <a:t>jaaromzet</a:t>
            </a:r>
            <a:r>
              <a:rPr lang="en-US" sz="2000" dirty="0">
                <a:latin typeface="+mj-lt"/>
              </a:rPr>
              <a:t> </a:t>
            </a:r>
            <a:r>
              <a:rPr lang="en-US" sz="2000" dirty="0" err="1">
                <a:latin typeface="+mj-lt"/>
              </a:rPr>
              <a:t>wordt</a:t>
            </a:r>
            <a:r>
              <a:rPr lang="en-US" sz="2000" dirty="0">
                <a:latin typeface="+mj-lt"/>
              </a:rPr>
              <a:t> </a:t>
            </a:r>
            <a:r>
              <a:rPr lang="en-US" sz="2000" dirty="0" err="1">
                <a:latin typeface="+mj-lt"/>
              </a:rPr>
              <a:t>gedaan</a:t>
            </a:r>
            <a:r>
              <a:rPr lang="en-US" sz="2000" dirty="0">
                <a:latin typeface="+mj-lt"/>
              </a:rPr>
              <a:t> in de </a:t>
            </a:r>
            <a:r>
              <a:rPr lang="en-US" sz="2000" dirty="0" err="1">
                <a:latin typeface="+mj-lt"/>
              </a:rPr>
              <a:t>laatste</a:t>
            </a:r>
            <a:r>
              <a:rPr lang="en-US" sz="2000" dirty="0">
                <a:latin typeface="+mj-lt"/>
              </a:rPr>
              <a:t> 8 </a:t>
            </a:r>
            <a:r>
              <a:rPr lang="en-US" sz="2000" dirty="0" err="1">
                <a:latin typeface="+mj-lt"/>
              </a:rPr>
              <a:t>weken</a:t>
            </a:r>
            <a:r>
              <a:rPr lang="en-US" sz="2000" dirty="0">
                <a:latin typeface="+mj-lt"/>
              </a:rPr>
              <a:t>…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E81834A-1035-4B54-B998-92726A7F023A}"/>
              </a:ext>
            </a:extLst>
          </p:cNvPr>
          <p:cNvSpPr txBox="1"/>
          <p:nvPr/>
        </p:nvSpPr>
        <p:spPr>
          <a:xfrm>
            <a:off x="3748095" y="2809188"/>
            <a:ext cx="1282045" cy="1414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5000"/>
              </a:lnSpc>
              <a:buClr>
                <a:schemeClr val="tx2"/>
              </a:buClr>
            </a:pPr>
            <a:r>
              <a:rPr lang="en-US" sz="1000" dirty="0"/>
              <a:t>Record store day</a:t>
            </a:r>
            <a:endParaRPr lang="en-NL" sz="1000" dirty="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E75B0C2-2E30-4381-B0CD-196A0EF69A4B}"/>
              </a:ext>
            </a:extLst>
          </p:cNvPr>
          <p:cNvSpPr txBox="1"/>
          <p:nvPr/>
        </p:nvSpPr>
        <p:spPr>
          <a:xfrm>
            <a:off x="5860963" y="2780907"/>
            <a:ext cx="1282045" cy="1414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25000"/>
              </a:lnSpc>
              <a:buClr>
                <a:schemeClr val="tx2"/>
              </a:buClr>
            </a:pPr>
            <a:r>
              <a:rPr lang="en-US" sz="1000" dirty="0"/>
              <a:t>B. Springsteen &amp; Madonna</a:t>
            </a:r>
            <a:endParaRPr lang="en-NL" sz="1000" dirty="0" err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3514B5D-B2C3-49F1-9351-12F2006E74C4}"/>
              </a:ext>
            </a:extLst>
          </p:cNvPr>
          <p:cNvSpPr txBox="1"/>
          <p:nvPr/>
        </p:nvSpPr>
        <p:spPr>
          <a:xfrm>
            <a:off x="9463756" y="2950590"/>
            <a:ext cx="1282045" cy="1414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25000"/>
              </a:lnSpc>
              <a:buClr>
                <a:schemeClr val="tx2"/>
              </a:buClr>
            </a:pPr>
            <a:r>
              <a:rPr lang="en-US" sz="1000" b="1" dirty="0"/>
              <a:t>Beatles – Abbey Road</a:t>
            </a:r>
            <a:endParaRPr lang="en-NL" sz="1000" b="1" dirty="0" err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D989C2-593C-433F-9FC3-4982E582891D}"/>
              </a:ext>
            </a:extLst>
          </p:cNvPr>
          <p:cNvSpPr txBox="1"/>
          <p:nvPr/>
        </p:nvSpPr>
        <p:spPr>
          <a:xfrm>
            <a:off x="10492846" y="2518526"/>
            <a:ext cx="1282045" cy="1414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25000"/>
              </a:lnSpc>
              <a:buClr>
                <a:schemeClr val="tx2"/>
              </a:buClr>
            </a:pPr>
            <a:r>
              <a:rPr lang="en-US" sz="1000" b="1" dirty="0"/>
              <a:t>Thunderdome</a:t>
            </a:r>
            <a:endParaRPr lang="en-NL" sz="1000" b="1" dirty="0" err="1"/>
          </a:p>
        </p:txBody>
      </p:sp>
    </p:spTree>
    <p:extLst>
      <p:ext uri="{BB962C8B-B14F-4D97-AF65-F5344CB8AC3E}">
        <p14:creationId xmlns:p14="http://schemas.microsoft.com/office/powerpoint/2010/main" val="5206026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" grpId="0"/>
      <p:bldP spid="7" grpId="0"/>
      <p:bldP spid="9" grpId="0"/>
      <p:bldP spid="1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en-US" dirty="0" err="1"/>
              <a:t>Omzetaandelen</a:t>
            </a:r>
            <a:r>
              <a:rPr lang="en-US" dirty="0"/>
              <a:t> Indies per “format”</a:t>
            </a:r>
          </a:p>
        </p:txBody>
      </p:sp>
      <p:graphicFrame>
        <p:nvGraphicFramePr>
          <p:cNvPr id="10" name="Content Placeholder 4"/>
          <p:cNvGraphicFramePr>
            <a:graphicFrameLocks noGrp="1"/>
          </p:cNvGraphicFramePr>
          <p:nvPr>
            <p:ph sz="quarter" idx="4294967295"/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3498128"/>
              </p:ext>
            </p:extLst>
          </p:nvPr>
        </p:nvGraphicFramePr>
        <p:xfrm>
          <a:off x="431800" y="1892301"/>
          <a:ext cx="11328400" cy="44174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43339" y="6597352"/>
            <a:ext cx="2400267" cy="1920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400"/>
              </a:spcBef>
            </a:pPr>
            <a:r>
              <a:rPr lang="nl-NL" sz="800" dirty="0">
                <a:latin typeface="Arial" pitchFamily="34" charset="0"/>
                <a:cs typeface="Arial" pitchFamily="34" charset="0"/>
              </a:rPr>
              <a:t>* obv top 10,000 units</a:t>
            </a:r>
          </a:p>
        </p:txBody>
      </p:sp>
    </p:spTree>
    <p:extLst>
      <p:ext uri="{BB962C8B-B14F-4D97-AF65-F5344CB8AC3E}">
        <p14:creationId xmlns:p14="http://schemas.microsoft.com/office/powerpoint/2010/main" val="2734490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9.10.2011 11:04:46"/>
  <p:tag name="VCT-TEMPLATE" val="Blank.potx"/>
  <p:tag name="VCTMASTER" val="GfK Master for PPT 2010 4-3"/>
  <p:tag name="VCTORDER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_LIBRARY_SELECT" val="object1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GfK">
  <a:themeElements>
    <a:clrScheme name="GfK">
      <a:dk1>
        <a:srgbClr val="414549"/>
      </a:dk1>
      <a:lt1>
        <a:srgbClr val="FFFFFF"/>
      </a:lt1>
      <a:dk2>
        <a:srgbClr val="E55A00"/>
      </a:dk2>
      <a:lt2>
        <a:srgbClr val="000000"/>
      </a:lt2>
      <a:accent1>
        <a:srgbClr val="414549"/>
      </a:accent1>
      <a:accent2>
        <a:srgbClr val="85280F"/>
      </a:accent2>
      <a:accent3>
        <a:srgbClr val="202D46"/>
      </a:accent3>
      <a:accent4>
        <a:srgbClr val="E2B726"/>
      </a:accent4>
      <a:accent5>
        <a:srgbClr val="543E35"/>
      </a:accent5>
      <a:accent6>
        <a:srgbClr val="496249"/>
      </a:accent6>
      <a:hlink>
        <a:srgbClr val="E55A00"/>
      </a:hlink>
      <a:folHlink>
        <a:srgbClr val="C39166"/>
      </a:folHlink>
    </a:clrScheme>
    <a:fontScheme name="GfK">
      <a:majorFont>
        <a:latin typeface="Lato Light"/>
        <a:ea typeface=""/>
        <a:cs typeface=""/>
        <a:font script="Jpan" typeface="Meiryo UI"/>
        <a:font script="Hang" typeface="맑은고딕"/>
        <a:font script="Hans" typeface="Boldface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Lato"/>
        <a:ea typeface=""/>
        <a:cs typeface=""/>
        <a:font script="Jpan" typeface="Meiryo UI"/>
        <a:font script="Hang" typeface="맑은고딕"/>
        <a:font script="Hans" typeface="Boldface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lnSpc>
            <a:spcPct val="125000"/>
          </a:lnSpc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52000" indent="-252000">
          <a:lnSpc>
            <a:spcPct val="125000"/>
          </a:lnSpc>
          <a:buClr>
            <a:schemeClr val="tx2"/>
          </a:buClr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custClrLst>
    <a:custClr name="GfK SAND 100%">
      <a:srgbClr val="C39166"/>
    </a:custClr>
    <a:custClr name="GfK PURPLE 100%">
      <a:srgbClr val="42122D"/>
    </a:custClr>
    <a:custClr name="GfK PETROL 100%">
      <a:srgbClr val="4D9991"/>
    </a:custClr>
    <a:custClr name="GfK ORANGE">
      <a:srgbClr val="E55A00"/>
    </a:custClr>
    <a:custClr name="GfK GRAY 100%">
      <a:srgbClr val="414549"/>
    </a:custClr>
    <a:custClr name="GfK RED 100%">
      <a:srgbClr val="85280F"/>
    </a:custClr>
    <a:custClr name="GfK BLUE 100%">
      <a:srgbClr val="202D46"/>
    </a:custClr>
    <a:custClr name="GfK YELLOW 100%">
      <a:srgbClr val="E2B726"/>
    </a:custClr>
    <a:custClr name="GfK BROWN 100%">
      <a:srgbClr val="543E35"/>
    </a:custClr>
    <a:custClr name="GfK GREEN 100%">
      <a:srgbClr val="496249"/>
    </a:custClr>
    <a:custClr name="GfK SAND 80%">
      <a:srgbClr val="CFA785"/>
    </a:custClr>
    <a:custClr name="GfK PURPLE 80%">
      <a:srgbClr val="684157"/>
    </a:custClr>
    <a:custClr name="GfK PETROL 80%">
      <a:srgbClr val="71ADA7"/>
    </a:custClr>
    <a:custClr>
      <a:srgbClr val="FFFFFF"/>
    </a:custClr>
    <a:custClr name="GfK GRAY 80%">
      <a:srgbClr val="676A6D"/>
    </a:custClr>
    <a:custClr name="GfK RED 80%">
      <a:srgbClr val="9D533F"/>
    </a:custClr>
    <a:custClr name="GfK BLUE 80%">
      <a:srgbClr val="4D576B"/>
    </a:custClr>
    <a:custClr name="GfK YELLOW 80%">
      <a:srgbClr val="E8C551"/>
    </a:custClr>
    <a:custClr name="GfK BROWN 80%">
      <a:srgbClr val="76655D"/>
    </a:custClr>
    <a:custClr name="GfK GREEN 80%">
      <a:srgbClr val="6D816D"/>
    </a:custClr>
    <a:custClr name="GfK SAND 60%">
      <a:srgbClr val="DBBDA3"/>
    </a:custClr>
    <a:custClr name="GfK PURPLE 60%">
      <a:srgbClr val="8E7181"/>
    </a:custClr>
    <a:custClr name="GfK PETROL 60%">
      <a:srgbClr val="94C2BD"/>
    </a:custClr>
    <a:custClr>
      <a:srgbClr val="FFFFFF"/>
    </a:custClr>
    <a:custClr name="GfK GRAY 60%">
      <a:srgbClr val="8D8F92"/>
    </a:custClr>
    <a:custClr name="GfK RED 60%">
      <a:srgbClr val="B67E6F"/>
    </a:custClr>
    <a:custClr name="GfK BLUE 60%">
      <a:srgbClr val="798190"/>
    </a:custClr>
    <a:custClr name="GfK YELLOW 60%">
      <a:srgbClr val="EED47D"/>
    </a:custClr>
    <a:custClr name="GfK BROWN 60%">
      <a:srgbClr val="988B86"/>
    </a:custClr>
    <a:custClr name="GfK GREEN 60%">
      <a:srgbClr val="92A192"/>
    </a:custClr>
    <a:custClr name="GfK SAND 40%">
      <a:srgbClr val="E7D3C2"/>
    </a:custClr>
    <a:custClr name="GfK PURPLE 40%">
      <a:srgbClr val="B3A0AB"/>
    </a:custClr>
    <a:custClr name="GfK PETROL 40%">
      <a:srgbClr val="B8D6D3"/>
    </a:custClr>
    <a:custClr>
      <a:srgbClr val="FFFFFF"/>
    </a:custClr>
    <a:custClr name="GfK GRAY 40%">
      <a:srgbClr val="B3B5B6"/>
    </a:custClr>
    <a:custClr name="GfK RED 40%">
      <a:srgbClr val="CEA99F"/>
    </a:custClr>
    <a:custClr name="GfK BLUE 40%">
      <a:srgbClr val="A6ABB5"/>
    </a:custClr>
    <a:custClr name="GfK YELLOW 40%">
      <a:srgbClr val="F3E2A8"/>
    </a:custClr>
    <a:custClr name="GfK BROWN 40%">
      <a:srgbClr val="BBB2AE"/>
    </a:custClr>
    <a:custClr name="GfK GREEN 40%">
      <a:srgbClr val="B6C0B6"/>
    </a:custClr>
    <a:custClr name="GfK SAND 20%">
      <a:srgbClr val="F3E9E0"/>
    </a:custClr>
    <a:custClr name="GfK PURPLE 20%">
      <a:srgbClr val="D9D0D5"/>
    </a:custClr>
    <a:custClr>
      <a:srgbClr val="FFFFFF"/>
    </a:custClr>
    <a:custClr>
      <a:srgbClr val="FFFFFF"/>
    </a:custClr>
    <a:custClr name="GfK GRAY 20%">
      <a:srgbClr val="D9DADB"/>
    </a:custClr>
    <a:custClr name="GfK RED 20%">
      <a:srgbClr val="E7D4CF"/>
    </a:custClr>
    <a:custClr name="GfK BLUE 20%">
      <a:srgbClr val="D2D5DA"/>
    </a:custClr>
    <a:custClr name="GfK YELLOW 20%">
      <a:srgbClr val="F9F1D4"/>
    </a:custClr>
    <a:custClr name="GfK BROWN 20%">
      <a:srgbClr val="DDD8D7"/>
    </a:custClr>
    <a:custClr name="GfK GREEN 20%">
      <a:srgbClr val="D2E0DB"/>
    </a:custClr>
  </a:custClrLst>
  <a:extLst>
    <a:ext uri="{05A4C25C-085E-4340-85A3-A5531E510DB2}">
      <thm15:themeFamily xmlns:thm15="http://schemas.microsoft.com/office/thememl/2012/main" name="GfK Template Lato.potx" id="{9B41F6FD-FD88-4220-BF2A-EDDFA9568A3A}" vid="{E05CAEFB-A675-4FF4-A247-1F6AB37A1E93}"/>
    </a:ext>
  </a:extLst>
</a:theme>
</file>

<file path=ppt/theme/theme2.xml><?xml version="1.0" encoding="utf-8"?>
<a:theme xmlns:a="http://schemas.openxmlformats.org/drawingml/2006/main" name="Blank-New-GfK-Brand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defRPr sz="16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">
      <a:dk1>
        <a:srgbClr val="414549"/>
      </a:dk1>
      <a:lt1>
        <a:srgbClr val="FFFFFF"/>
      </a:lt1>
      <a:dk2>
        <a:srgbClr val="E55A00"/>
      </a:dk2>
      <a:lt2>
        <a:srgbClr val="FFFFFF"/>
      </a:lt2>
      <a:accent1>
        <a:srgbClr val="85280F"/>
      </a:accent1>
      <a:accent2>
        <a:srgbClr val="E2B726"/>
      </a:accent2>
      <a:accent3>
        <a:srgbClr val="543E35"/>
      </a:accent3>
      <a:accent4>
        <a:srgbClr val="496249"/>
      </a:accent4>
      <a:accent5>
        <a:srgbClr val="202D46"/>
      </a:accent5>
      <a:accent6>
        <a:srgbClr val="C39166"/>
      </a:accent6>
      <a:hlink>
        <a:srgbClr val="C39166"/>
      </a:hlink>
      <a:folHlink>
        <a:srgbClr val="C39166"/>
      </a:folHlink>
    </a:clrScheme>
    <a:fontScheme name="GfK">
      <a:majorFont>
        <a:latin typeface="Lato Light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098</TotalTime>
  <Words>681</Words>
  <Application>Microsoft Office PowerPoint</Application>
  <PresentationFormat>Widescreen</PresentationFormat>
  <Paragraphs>220</Paragraphs>
  <Slides>17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7" baseType="lpstr">
      <vt:lpstr>Arial</vt:lpstr>
      <vt:lpstr>Calibri</vt:lpstr>
      <vt:lpstr>Courier New</vt:lpstr>
      <vt:lpstr>Lato</vt:lpstr>
      <vt:lpstr>Lato Light</vt:lpstr>
      <vt:lpstr>Tahoma</vt:lpstr>
      <vt:lpstr>Wingdings</vt:lpstr>
      <vt:lpstr>GfK</vt:lpstr>
      <vt:lpstr>Blank-New-GfK-Brand</vt:lpstr>
      <vt:lpstr>think-cell Folie</vt:lpstr>
      <vt:lpstr>Hoe staat de muziekmarkt ervoor en hoe staan wij hierin?</vt:lpstr>
      <vt:lpstr>De GfK manier van werken</vt:lpstr>
      <vt:lpstr>In welke panels zijn wij actief?</vt:lpstr>
      <vt:lpstr>Audiomarkt (x € mln) nader bekeken</vt:lpstr>
      <vt:lpstr>Evolutie aanpalende (fysieke) markten</vt:lpstr>
      <vt:lpstr>Omzetaandeel vinyl in totaal CD &amp; vinyl</vt:lpstr>
      <vt:lpstr>Top 15 bands/artists goed voor 19% van totale vinyl omzet</vt:lpstr>
      <vt:lpstr>Weekomzet CD &amp; LP per week 2019 vs market shares Indies</vt:lpstr>
      <vt:lpstr>Omzetaandelen Indies per “format”</vt:lpstr>
      <vt:lpstr>Omzetaandelen Indies CD’s top vs tail </vt:lpstr>
      <vt:lpstr>Volume aandelen Indies streams  top vs tail </vt:lpstr>
      <vt:lpstr>Omzetverhouding CD’s naar genre </vt:lpstr>
      <vt:lpstr>Top 15 fysieke sales YTD oktober 2019</vt:lpstr>
      <vt:lpstr>Encore; Hoe doen we het in de charts?</vt:lpstr>
      <vt:lpstr>Aantal noteringen Indies binnen    Dutch Charts singles top 100</vt:lpstr>
      <vt:lpstr>Aandelen Indies in Dutch Charts obv top 100 YTD oktober</vt:lpstr>
      <vt:lpstr>Bedankt voor de aandacht!</vt:lpstr>
    </vt:vector>
  </TitlesOfParts>
  <Company>-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n der Schinkel, Rene (GfK)</dc:creator>
  <cp:lastModifiedBy>van der Schinkel, Rene (GfK)</cp:lastModifiedBy>
  <cp:revision>95</cp:revision>
  <dcterms:created xsi:type="dcterms:W3CDTF">2019-11-01T08:00:23Z</dcterms:created>
  <dcterms:modified xsi:type="dcterms:W3CDTF">2019-11-18T13:28:25Z</dcterms:modified>
</cp:coreProperties>
</file>